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8"/>
  </p:notesMasterIdLst>
  <p:handoutMasterIdLst>
    <p:handoutMasterId r:id="rId19"/>
  </p:handoutMasterIdLst>
  <p:sldIdLst>
    <p:sldId id="8847" r:id="rId5"/>
    <p:sldId id="267" r:id="rId6"/>
    <p:sldId id="8827" r:id="rId7"/>
    <p:sldId id="8843" r:id="rId8"/>
    <p:sldId id="276" r:id="rId9"/>
    <p:sldId id="8841" r:id="rId10"/>
    <p:sldId id="8848" r:id="rId11"/>
    <p:sldId id="8825" r:id="rId12"/>
    <p:sldId id="8682" r:id="rId13"/>
    <p:sldId id="281" r:id="rId14"/>
    <p:sldId id="8784" r:id="rId15"/>
    <p:sldId id="262" r:id="rId16"/>
    <p:sldId id="8849" r:id="rId17"/>
  </p:sldIdLst>
  <p:sldSz cx="12192000" cy="6858000"/>
  <p:notesSz cx="7104063" cy="1023461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3094CC7-A5E3-47AE-9A66-CF7FA29CD34F}">
          <p14:sldIdLst>
            <p14:sldId id="8847"/>
            <p14:sldId id="267"/>
            <p14:sldId id="8827"/>
            <p14:sldId id="8843"/>
            <p14:sldId id="276"/>
            <p14:sldId id="8841"/>
            <p14:sldId id="8848"/>
            <p14:sldId id="8825"/>
            <p14:sldId id="8682"/>
            <p14:sldId id="281"/>
            <p14:sldId id="8784"/>
            <p14:sldId id="262"/>
            <p14:sldId id="88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 showScrollbar="0"/>
    <p:sldAll/>
    <p:penClr>
      <a:prstClr val="red"/>
    </p:penClr>
    <p:extLst>
      <p:ext uri="{F99C55AA-B7CB-42B0-86F8-08522FDF87E8}">
        <p14:browseMode xmlns:p14="http://schemas.microsoft.com/office/powerpoint/2010/main" showStatus="0"/>
      </p:ex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EDC30D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7277D0-79FC-4319-AB78-30E17A623AC4}" v="2" dt="2019-10-21T14:55:32.409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2" autoAdjust="0"/>
    <p:restoredTop sz="62331" autoAdjust="0"/>
  </p:normalViewPr>
  <p:slideViewPr>
    <p:cSldViewPr snapToGrid="0">
      <p:cViewPr varScale="1">
        <p:scale>
          <a:sx n="128" d="100"/>
          <a:sy n="128" d="100"/>
        </p:scale>
        <p:origin x="100" y="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5405"/>
    </p:cViewPr>
  </p:sorterViewPr>
  <p:notesViewPr>
    <p:cSldViewPr snapToGrid="0">
      <p:cViewPr>
        <p:scale>
          <a:sx n="1" d="2"/>
          <a:sy n="1" d="2"/>
        </p:scale>
        <p:origin x="3974" y="10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4" Type="http://schemas.openxmlformats.org/officeDocument/2006/relationships/image" Target="../media/image44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4" Type="http://schemas.openxmlformats.org/officeDocument/2006/relationships/image" Target="../media/image4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0449F7-7D3A-4340-8264-322BD3A20AB9}" type="doc">
      <dgm:prSet loTypeId="urn:microsoft.com/office/officeart/2016/7/layout/VerticalSolidAction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5AB223E-4953-4EF2-BA3C-ECDF95A84747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Structure</a:t>
          </a:r>
          <a:endParaRPr lang="en-US" sz="2400" dirty="0"/>
        </a:p>
      </dgm:t>
    </dgm:pt>
    <dgm:pt modelId="{296171BF-63AB-4CB5-A379-F0CA2FCF7867}" type="parTrans" cxnId="{B25C3080-06BE-4AAF-8319-6AD828390854}">
      <dgm:prSet/>
      <dgm:spPr/>
      <dgm:t>
        <a:bodyPr/>
        <a:lstStyle/>
        <a:p>
          <a:endParaRPr lang="en-GB"/>
        </a:p>
      </dgm:t>
    </dgm:pt>
    <dgm:pt modelId="{7EE13155-3E37-4797-9EAD-C79787B72C15}" type="sibTrans" cxnId="{B25C3080-06BE-4AAF-8319-6AD828390854}">
      <dgm:prSet/>
      <dgm:spPr/>
      <dgm:t>
        <a:bodyPr/>
        <a:lstStyle/>
        <a:p>
          <a:endParaRPr lang="en-GB"/>
        </a:p>
      </dgm:t>
    </dgm:pt>
    <dgm:pt modelId="{303FE2C8-697A-44AA-8A58-2AB8CD5FE559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Readiness</a:t>
          </a:r>
        </a:p>
      </dgm:t>
    </dgm:pt>
    <dgm:pt modelId="{0CD534FB-0E5D-4C27-B30B-84F397B9E7CF}" type="parTrans" cxnId="{ED2F2EF3-4A15-422F-BEDB-E78A15BB5F74}">
      <dgm:prSet/>
      <dgm:spPr/>
      <dgm:t>
        <a:bodyPr/>
        <a:lstStyle/>
        <a:p>
          <a:endParaRPr lang="en-GB"/>
        </a:p>
      </dgm:t>
    </dgm:pt>
    <dgm:pt modelId="{FBC92A26-3BB4-4C37-9EC9-6618C9F33F01}" type="sibTrans" cxnId="{ED2F2EF3-4A15-422F-BEDB-E78A15BB5F74}">
      <dgm:prSet/>
      <dgm:spPr/>
      <dgm:t>
        <a:bodyPr/>
        <a:lstStyle/>
        <a:p>
          <a:endParaRPr lang="en-GB"/>
        </a:p>
      </dgm:t>
    </dgm:pt>
    <dgm:pt modelId="{687A608D-795E-4EC2-8ABB-3BF7340EA01C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Learn</a:t>
          </a:r>
        </a:p>
      </dgm:t>
    </dgm:pt>
    <dgm:pt modelId="{58653F12-063B-4863-9D94-2613F9B91618}" type="parTrans" cxnId="{BAD91001-6334-40D4-A4EA-DACD764AE7A6}">
      <dgm:prSet/>
      <dgm:spPr/>
      <dgm:t>
        <a:bodyPr/>
        <a:lstStyle/>
        <a:p>
          <a:endParaRPr lang="en-GB"/>
        </a:p>
      </dgm:t>
    </dgm:pt>
    <dgm:pt modelId="{938E51DF-31AD-464F-BA46-6A38401705D7}" type="sibTrans" cxnId="{BAD91001-6334-40D4-A4EA-DACD764AE7A6}">
      <dgm:prSet/>
      <dgm:spPr/>
      <dgm:t>
        <a:bodyPr/>
        <a:lstStyle/>
        <a:p>
          <a:endParaRPr lang="en-GB"/>
        </a:p>
      </dgm:t>
    </dgm:pt>
    <dgm:pt modelId="{C91F7238-E6F4-47CB-8B38-9A247B34AE3F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Structured approach gives confidence </a:t>
          </a:r>
          <a:endParaRPr lang="en-US" sz="2400" dirty="0">
            <a:solidFill>
              <a:schemeClr val="tx2"/>
            </a:solidFill>
          </a:endParaRPr>
        </a:p>
      </dgm:t>
    </dgm:pt>
    <dgm:pt modelId="{A0ABD75B-9C51-496B-A322-1971B16FA87E}" type="parTrans" cxnId="{1A4335F8-C8B0-4574-AC98-BAD50B380BCA}">
      <dgm:prSet/>
      <dgm:spPr/>
    </dgm:pt>
    <dgm:pt modelId="{AC185D4D-AFCC-4163-887F-1F1020114E7B}" type="sibTrans" cxnId="{1A4335F8-C8B0-4574-AC98-BAD50B380BCA}">
      <dgm:prSet/>
      <dgm:spPr/>
    </dgm:pt>
    <dgm:pt modelId="{6FB36881-CFC1-47D7-8789-68479BEDD734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Prepares for challenges</a:t>
          </a:r>
        </a:p>
      </dgm:t>
    </dgm:pt>
    <dgm:pt modelId="{984D0E61-E76A-4E58-B649-BD26D2C9A6E1}" type="parTrans" cxnId="{983F1F0E-2197-4CFC-93F7-1F222FEDDDA8}">
      <dgm:prSet/>
      <dgm:spPr/>
    </dgm:pt>
    <dgm:pt modelId="{D83893AE-9BB4-40A2-BDF2-D3EB39B1CE0C}" type="sibTrans" cxnId="{983F1F0E-2197-4CFC-93F7-1F222FEDDDA8}">
      <dgm:prSet/>
      <dgm:spPr/>
    </dgm:pt>
    <dgm:pt modelId="{13552C7B-0FB0-4E95-938F-9EF1CD75EFE4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Learn to fish </a:t>
          </a:r>
        </a:p>
      </dgm:t>
    </dgm:pt>
    <dgm:pt modelId="{C59A98E6-70A7-4369-8271-EAFD3A86B2F7}" type="parTrans" cxnId="{7C3C26D1-3E67-4D8C-820C-C5763DBB3A75}">
      <dgm:prSet/>
      <dgm:spPr/>
    </dgm:pt>
    <dgm:pt modelId="{17496FDF-A396-4945-9775-7B7DAE69B831}" type="sibTrans" cxnId="{7C3C26D1-3E67-4D8C-820C-C5763DBB3A75}">
      <dgm:prSet/>
      <dgm:spPr/>
    </dgm:pt>
    <dgm:pt modelId="{106BB47F-E344-419C-9610-A22E2E783E6F}" type="pres">
      <dgm:prSet presAssocID="{460449F7-7D3A-4340-8264-322BD3A20AB9}" presName="Name0" presStyleCnt="0">
        <dgm:presLayoutVars>
          <dgm:dir/>
          <dgm:animLvl val="lvl"/>
          <dgm:resizeHandles val="exact"/>
        </dgm:presLayoutVars>
      </dgm:prSet>
      <dgm:spPr/>
    </dgm:pt>
    <dgm:pt modelId="{44AFF348-DE45-406E-BA6A-B5B188C14043}" type="pres">
      <dgm:prSet presAssocID="{25AB223E-4953-4EF2-BA3C-ECDF95A84747}" presName="linNode" presStyleCnt="0"/>
      <dgm:spPr/>
    </dgm:pt>
    <dgm:pt modelId="{E9F836B8-166B-45D6-9F84-CEA44AD858A3}" type="pres">
      <dgm:prSet presAssocID="{25AB223E-4953-4EF2-BA3C-ECDF95A84747}" presName="parentText" presStyleLbl="alignNode1" presStyleIdx="0" presStyleCnt="3">
        <dgm:presLayoutVars>
          <dgm:chMax val="1"/>
          <dgm:bulletEnabled/>
        </dgm:presLayoutVars>
      </dgm:prSet>
      <dgm:spPr/>
    </dgm:pt>
    <dgm:pt modelId="{1D316B12-8CDF-4966-8386-A25B656CCFCB}" type="pres">
      <dgm:prSet presAssocID="{25AB223E-4953-4EF2-BA3C-ECDF95A84747}" presName="descendantText" presStyleLbl="alignAccFollowNode1" presStyleIdx="0" presStyleCnt="3" custLinFactNeighborX="78666" custLinFactNeighborY="-24046">
        <dgm:presLayoutVars>
          <dgm:bulletEnabled/>
        </dgm:presLayoutVars>
      </dgm:prSet>
      <dgm:spPr/>
    </dgm:pt>
    <dgm:pt modelId="{8A7562F0-2417-4F92-9EE3-D0DC46131D5B}" type="pres">
      <dgm:prSet presAssocID="{7EE13155-3E37-4797-9EAD-C79787B72C15}" presName="sp" presStyleCnt="0"/>
      <dgm:spPr/>
    </dgm:pt>
    <dgm:pt modelId="{6AF58D09-1B8C-4008-85CB-34E624827232}" type="pres">
      <dgm:prSet presAssocID="{303FE2C8-697A-44AA-8A58-2AB8CD5FE559}" presName="linNode" presStyleCnt="0"/>
      <dgm:spPr/>
    </dgm:pt>
    <dgm:pt modelId="{0FF1DA46-AF1D-4D22-B9CC-6C2190A5D711}" type="pres">
      <dgm:prSet presAssocID="{303FE2C8-697A-44AA-8A58-2AB8CD5FE559}" presName="parentText" presStyleLbl="alignNode1" presStyleIdx="1" presStyleCnt="3">
        <dgm:presLayoutVars>
          <dgm:chMax val="1"/>
          <dgm:bulletEnabled/>
        </dgm:presLayoutVars>
      </dgm:prSet>
      <dgm:spPr/>
    </dgm:pt>
    <dgm:pt modelId="{875AB7FF-ADF3-4742-9CB9-E84F789DC389}" type="pres">
      <dgm:prSet presAssocID="{303FE2C8-697A-44AA-8A58-2AB8CD5FE559}" presName="descendantText" presStyleLbl="alignAccFollowNode1" presStyleIdx="1" presStyleCnt="3">
        <dgm:presLayoutVars>
          <dgm:bulletEnabled/>
        </dgm:presLayoutVars>
      </dgm:prSet>
      <dgm:spPr/>
    </dgm:pt>
    <dgm:pt modelId="{57EC48A2-A3F8-48F2-8AEA-4056D29E2A2E}" type="pres">
      <dgm:prSet presAssocID="{FBC92A26-3BB4-4C37-9EC9-6618C9F33F01}" presName="sp" presStyleCnt="0"/>
      <dgm:spPr/>
    </dgm:pt>
    <dgm:pt modelId="{FFF2CB33-1628-4A6B-AB61-CB4CFDE08AF6}" type="pres">
      <dgm:prSet presAssocID="{687A608D-795E-4EC2-8ABB-3BF7340EA01C}" presName="linNode" presStyleCnt="0"/>
      <dgm:spPr/>
    </dgm:pt>
    <dgm:pt modelId="{5FA7DB8B-597A-4003-A78F-BE5DFAC45AE0}" type="pres">
      <dgm:prSet presAssocID="{687A608D-795E-4EC2-8ABB-3BF7340EA01C}" presName="parentText" presStyleLbl="alignNode1" presStyleIdx="2" presStyleCnt="3">
        <dgm:presLayoutVars>
          <dgm:chMax val="1"/>
          <dgm:bulletEnabled/>
        </dgm:presLayoutVars>
      </dgm:prSet>
      <dgm:spPr/>
    </dgm:pt>
    <dgm:pt modelId="{9E123CF5-A7F8-4951-AEBF-F17A816F9404}" type="pres">
      <dgm:prSet presAssocID="{687A608D-795E-4EC2-8ABB-3BF7340EA01C}" presName="descendantText" presStyleLbl="alignAccFollowNode1" presStyleIdx="2" presStyleCnt="3">
        <dgm:presLayoutVars>
          <dgm:bulletEnabled/>
        </dgm:presLayoutVars>
      </dgm:prSet>
      <dgm:spPr/>
    </dgm:pt>
  </dgm:ptLst>
  <dgm:cxnLst>
    <dgm:cxn modelId="{BAD91001-6334-40D4-A4EA-DACD764AE7A6}" srcId="{460449F7-7D3A-4340-8264-322BD3A20AB9}" destId="{687A608D-795E-4EC2-8ABB-3BF7340EA01C}" srcOrd="2" destOrd="0" parTransId="{58653F12-063B-4863-9D94-2613F9B91618}" sibTransId="{938E51DF-31AD-464F-BA46-6A38401705D7}"/>
    <dgm:cxn modelId="{983F1F0E-2197-4CFC-93F7-1F222FEDDDA8}" srcId="{303FE2C8-697A-44AA-8A58-2AB8CD5FE559}" destId="{6FB36881-CFC1-47D7-8789-68479BEDD734}" srcOrd="0" destOrd="0" parTransId="{984D0E61-E76A-4E58-B649-BD26D2C9A6E1}" sibTransId="{D83893AE-9BB4-40A2-BDF2-D3EB39B1CE0C}"/>
    <dgm:cxn modelId="{75829915-F8A4-4D21-A5ED-FF6CE6BCAFB4}" type="presOf" srcId="{25AB223E-4953-4EF2-BA3C-ECDF95A84747}" destId="{E9F836B8-166B-45D6-9F84-CEA44AD858A3}" srcOrd="0" destOrd="0" presId="urn:microsoft.com/office/officeart/2016/7/layout/VerticalSolidActionList"/>
    <dgm:cxn modelId="{D11A0A24-A008-46C1-89F8-D2FE78254C1B}" type="presOf" srcId="{687A608D-795E-4EC2-8ABB-3BF7340EA01C}" destId="{5FA7DB8B-597A-4003-A78F-BE5DFAC45AE0}" srcOrd="0" destOrd="0" presId="urn:microsoft.com/office/officeart/2016/7/layout/VerticalSolidActionList"/>
    <dgm:cxn modelId="{62B1B424-0259-4A39-AAE0-C9EF550D6016}" type="presOf" srcId="{13552C7B-0FB0-4E95-938F-9EF1CD75EFE4}" destId="{9E123CF5-A7F8-4951-AEBF-F17A816F9404}" srcOrd="0" destOrd="0" presId="urn:microsoft.com/office/officeart/2016/7/layout/VerticalSolidActionList"/>
    <dgm:cxn modelId="{C78D162B-6FFB-4712-81E4-C23D0DACD3CA}" type="presOf" srcId="{C91F7238-E6F4-47CB-8B38-9A247B34AE3F}" destId="{1D316B12-8CDF-4966-8386-A25B656CCFCB}" srcOrd="0" destOrd="0" presId="urn:microsoft.com/office/officeart/2016/7/layout/VerticalSolidActionList"/>
    <dgm:cxn modelId="{2496FD6B-9D88-4D1A-9B84-F563822B1CF5}" type="presOf" srcId="{460449F7-7D3A-4340-8264-322BD3A20AB9}" destId="{106BB47F-E344-419C-9610-A22E2E783E6F}" srcOrd="0" destOrd="0" presId="urn:microsoft.com/office/officeart/2016/7/layout/VerticalSolidActionList"/>
    <dgm:cxn modelId="{46004351-743B-403A-B576-6E9C4885CC5D}" type="presOf" srcId="{303FE2C8-697A-44AA-8A58-2AB8CD5FE559}" destId="{0FF1DA46-AF1D-4D22-B9CC-6C2190A5D711}" srcOrd="0" destOrd="0" presId="urn:microsoft.com/office/officeart/2016/7/layout/VerticalSolidActionList"/>
    <dgm:cxn modelId="{B25C3080-06BE-4AAF-8319-6AD828390854}" srcId="{460449F7-7D3A-4340-8264-322BD3A20AB9}" destId="{25AB223E-4953-4EF2-BA3C-ECDF95A84747}" srcOrd="0" destOrd="0" parTransId="{296171BF-63AB-4CB5-A379-F0CA2FCF7867}" sibTransId="{7EE13155-3E37-4797-9EAD-C79787B72C15}"/>
    <dgm:cxn modelId="{7C3C26D1-3E67-4D8C-820C-C5763DBB3A75}" srcId="{687A608D-795E-4EC2-8ABB-3BF7340EA01C}" destId="{13552C7B-0FB0-4E95-938F-9EF1CD75EFE4}" srcOrd="0" destOrd="0" parTransId="{C59A98E6-70A7-4369-8271-EAFD3A86B2F7}" sibTransId="{17496FDF-A396-4945-9775-7B7DAE69B831}"/>
    <dgm:cxn modelId="{9E75C2E6-2FAF-451B-B44B-8DA27AD818AB}" type="presOf" srcId="{6FB36881-CFC1-47D7-8789-68479BEDD734}" destId="{875AB7FF-ADF3-4742-9CB9-E84F789DC389}" srcOrd="0" destOrd="0" presId="urn:microsoft.com/office/officeart/2016/7/layout/VerticalSolidActionList"/>
    <dgm:cxn modelId="{ED2F2EF3-4A15-422F-BEDB-E78A15BB5F74}" srcId="{460449F7-7D3A-4340-8264-322BD3A20AB9}" destId="{303FE2C8-697A-44AA-8A58-2AB8CD5FE559}" srcOrd="1" destOrd="0" parTransId="{0CD534FB-0E5D-4C27-B30B-84F397B9E7CF}" sibTransId="{FBC92A26-3BB4-4C37-9EC9-6618C9F33F01}"/>
    <dgm:cxn modelId="{1A4335F8-C8B0-4574-AC98-BAD50B380BCA}" srcId="{25AB223E-4953-4EF2-BA3C-ECDF95A84747}" destId="{C91F7238-E6F4-47CB-8B38-9A247B34AE3F}" srcOrd="0" destOrd="0" parTransId="{A0ABD75B-9C51-496B-A322-1971B16FA87E}" sibTransId="{AC185D4D-AFCC-4163-887F-1F1020114E7B}"/>
    <dgm:cxn modelId="{F63E076E-D14E-4D27-9014-9AEE99F5CBDD}" type="presParOf" srcId="{106BB47F-E344-419C-9610-A22E2E783E6F}" destId="{44AFF348-DE45-406E-BA6A-B5B188C14043}" srcOrd="0" destOrd="0" presId="urn:microsoft.com/office/officeart/2016/7/layout/VerticalSolidActionList"/>
    <dgm:cxn modelId="{62718B49-FCD6-4F00-971B-C907B0294D0D}" type="presParOf" srcId="{44AFF348-DE45-406E-BA6A-B5B188C14043}" destId="{E9F836B8-166B-45D6-9F84-CEA44AD858A3}" srcOrd="0" destOrd="0" presId="urn:microsoft.com/office/officeart/2016/7/layout/VerticalSolidActionList"/>
    <dgm:cxn modelId="{25A9C8D6-0DB1-4D99-9BA7-B7B3F92B801C}" type="presParOf" srcId="{44AFF348-DE45-406E-BA6A-B5B188C14043}" destId="{1D316B12-8CDF-4966-8386-A25B656CCFCB}" srcOrd="1" destOrd="0" presId="urn:microsoft.com/office/officeart/2016/7/layout/VerticalSolidActionList"/>
    <dgm:cxn modelId="{8AB347FF-2620-48A8-9545-D5E1AC548144}" type="presParOf" srcId="{106BB47F-E344-419C-9610-A22E2E783E6F}" destId="{8A7562F0-2417-4F92-9EE3-D0DC46131D5B}" srcOrd="1" destOrd="0" presId="urn:microsoft.com/office/officeart/2016/7/layout/VerticalSolidActionList"/>
    <dgm:cxn modelId="{CD124735-A4D2-4172-9052-8364FE6E4BD7}" type="presParOf" srcId="{106BB47F-E344-419C-9610-A22E2E783E6F}" destId="{6AF58D09-1B8C-4008-85CB-34E624827232}" srcOrd="2" destOrd="0" presId="urn:microsoft.com/office/officeart/2016/7/layout/VerticalSolidActionList"/>
    <dgm:cxn modelId="{946ED341-DF4D-48FD-9154-BEB4640E8B66}" type="presParOf" srcId="{6AF58D09-1B8C-4008-85CB-34E624827232}" destId="{0FF1DA46-AF1D-4D22-B9CC-6C2190A5D711}" srcOrd="0" destOrd="0" presId="urn:microsoft.com/office/officeart/2016/7/layout/VerticalSolidActionList"/>
    <dgm:cxn modelId="{A03B9171-EB07-438E-ABDE-9B511894F7B0}" type="presParOf" srcId="{6AF58D09-1B8C-4008-85CB-34E624827232}" destId="{875AB7FF-ADF3-4742-9CB9-E84F789DC389}" srcOrd="1" destOrd="0" presId="urn:microsoft.com/office/officeart/2016/7/layout/VerticalSolidActionList"/>
    <dgm:cxn modelId="{92379D4A-725F-4425-BD92-610B0F1E26B9}" type="presParOf" srcId="{106BB47F-E344-419C-9610-A22E2E783E6F}" destId="{57EC48A2-A3F8-48F2-8AEA-4056D29E2A2E}" srcOrd="3" destOrd="0" presId="urn:microsoft.com/office/officeart/2016/7/layout/VerticalSolidActionList"/>
    <dgm:cxn modelId="{D12BC5C1-B3A4-43F3-BF5F-3106A8B7C86A}" type="presParOf" srcId="{106BB47F-E344-419C-9610-A22E2E783E6F}" destId="{FFF2CB33-1628-4A6B-AB61-CB4CFDE08AF6}" srcOrd="4" destOrd="0" presId="urn:microsoft.com/office/officeart/2016/7/layout/VerticalSolidActionList"/>
    <dgm:cxn modelId="{C1F9C1A6-C8E5-4342-A87B-A3A294CA44DA}" type="presParOf" srcId="{FFF2CB33-1628-4A6B-AB61-CB4CFDE08AF6}" destId="{5FA7DB8B-597A-4003-A78F-BE5DFAC45AE0}" srcOrd="0" destOrd="0" presId="urn:microsoft.com/office/officeart/2016/7/layout/VerticalSolidActionList"/>
    <dgm:cxn modelId="{47E4E0F6-FAAA-45E2-B888-420286D651AB}" type="presParOf" srcId="{FFF2CB33-1628-4A6B-AB61-CB4CFDE08AF6}" destId="{9E123CF5-A7F8-4951-AEBF-F17A816F9404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7F10B88-CD53-4427-8874-FF70B958A448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Feasible and impactful</a:t>
          </a:r>
          <a:endParaRPr lang="en-GB" sz="2800" dirty="0">
            <a:solidFill>
              <a:schemeClr val="tx2"/>
            </a:solidFill>
          </a:endParaRPr>
        </a:p>
      </dgm:t>
    </dgm:pt>
    <dgm:pt modelId="{E2BB9579-BD0B-4F4D-AB16-C43043DEFD94}" type="par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FC74D2-9988-49E6-AB93-5A6D4E9ED23B}" type="sib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F67DEF0-8711-42D2-940A-2535C9FCB85A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Permission/approvals</a:t>
          </a:r>
        </a:p>
      </dgm:t>
    </dgm:pt>
    <dgm:pt modelId="{8376CDC5-B702-451F-BC23-6690CB4CE2B7}" type="parTrans" cxnId="{2F8C1835-86A9-43EA-BBE9-C38CFACE4B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A87B34D-2101-4310-B986-38662524868E}" type="sibTrans" cxnId="{2F8C1835-86A9-43EA-BBE9-C38CFACE4B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0D5C87-73FB-4E1A-83BE-2FA436D2E329}" type="pres">
      <dgm:prSet presAssocID="{F7F10B88-CD53-4427-8874-FF70B958A448}" presName="hierRoot1" presStyleCnt="0">
        <dgm:presLayoutVars>
          <dgm:hierBranch val="init"/>
        </dgm:presLayoutVars>
      </dgm:prSet>
      <dgm:spPr/>
    </dgm:pt>
    <dgm:pt modelId="{ABB56E5C-B422-4EB7-AD2C-FC30227CB26A}" type="pres">
      <dgm:prSet presAssocID="{F7F10B88-CD53-4427-8874-FF70B958A448}" presName="rootComposite1" presStyleCnt="0"/>
      <dgm:spPr/>
    </dgm:pt>
    <dgm:pt modelId="{BEE96E92-FF1B-4AB0-B443-65D128C9DCE1}" type="pres">
      <dgm:prSet presAssocID="{F7F10B88-CD53-4427-8874-FF70B958A448}" presName="rootText1" presStyleLbl="alignAcc1" presStyleIdx="0" presStyleCnt="0">
        <dgm:presLayoutVars>
          <dgm:chPref val="3"/>
        </dgm:presLayoutVars>
      </dgm:prSet>
      <dgm:spPr/>
    </dgm:pt>
    <dgm:pt modelId="{AB960692-88E2-4F1E-8B0D-E3245F812F19}" type="pres">
      <dgm:prSet presAssocID="{F7F10B88-CD53-4427-8874-FF70B958A448}" presName="topArc1" presStyleLbl="parChTrans1D1" presStyleIdx="0" presStyleCnt="4"/>
      <dgm:spPr/>
    </dgm:pt>
    <dgm:pt modelId="{93642A3F-CD30-4862-9676-1B5A1DE169E6}" type="pres">
      <dgm:prSet presAssocID="{F7F10B88-CD53-4427-8874-FF70B958A448}" presName="bottomArc1" presStyleLbl="parChTrans1D1" presStyleIdx="1" presStyleCnt="4"/>
      <dgm:spPr/>
    </dgm:pt>
    <dgm:pt modelId="{F9032172-A652-4DA4-9517-910F6162E5D7}" type="pres">
      <dgm:prSet presAssocID="{F7F10B88-CD53-4427-8874-FF70B958A448}" presName="topConnNode1" presStyleLbl="node1" presStyleIdx="0" presStyleCnt="0"/>
      <dgm:spPr/>
    </dgm:pt>
    <dgm:pt modelId="{F8DD2959-8D4A-480A-93D5-634BB41AB817}" type="pres">
      <dgm:prSet presAssocID="{F7F10B88-CD53-4427-8874-FF70B958A448}" presName="hierChild2" presStyleCnt="0"/>
      <dgm:spPr/>
    </dgm:pt>
    <dgm:pt modelId="{C42EF594-3E8D-4CDD-9B82-A8BC4EF97210}" type="pres">
      <dgm:prSet presAssocID="{F7F10B88-CD53-4427-8874-FF70B958A448}" presName="hierChild3" presStyleCnt="0"/>
      <dgm:spPr/>
    </dgm:pt>
    <dgm:pt modelId="{C2738BD5-9E75-4E5B-8268-8EEF351A1218}" type="pres">
      <dgm:prSet presAssocID="{5F67DEF0-8711-42D2-940A-2535C9FCB85A}" presName="hierRoot1" presStyleCnt="0">
        <dgm:presLayoutVars>
          <dgm:hierBranch val="init"/>
        </dgm:presLayoutVars>
      </dgm:prSet>
      <dgm:spPr/>
    </dgm:pt>
    <dgm:pt modelId="{33436270-D073-44C8-8D3D-86AD5F085157}" type="pres">
      <dgm:prSet presAssocID="{5F67DEF0-8711-42D2-940A-2535C9FCB85A}" presName="rootComposite1" presStyleCnt="0"/>
      <dgm:spPr/>
    </dgm:pt>
    <dgm:pt modelId="{04CD67E7-208D-46C4-AF0E-E35A6F865705}" type="pres">
      <dgm:prSet presAssocID="{5F67DEF0-8711-42D2-940A-2535C9FCB85A}" presName="rootText1" presStyleLbl="alignAcc1" presStyleIdx="0" presStyleCnt="0">
        <dgm:presLayoutVars>
          <dgm:chPref val="3"/>
        </dgm:presLayoutVars>
      </dgm:prSet>
      <dgm:spPr/>
    </dgm:pt>
    <dgm:pt modelId="{EFBCECC8-CA55-4092-A1A4-48009678FB80}" type="pres">
      <dgm:prSet presAssocID="{5F67DEF0-8711-42D2-940A-2535C9FCB85A}" presName="topArc1" presStyleLbl="parChTrans1D1" presStyleIdx="2" presStyleCnt="4"/>
      <dgm:spPr/>
    </dgm:pt>
    <dgm:pt modelId="{75F042FE-5A8E-4D45-8938-06486985E68B}" type="pres">
      <dgm:prSet presAssocID="{5F67DEF0-8711-42D2-940A-2535C9FCB85A}" presName="bottomArc1" presStyleLbl="parChTrans1D1" presStyleIdx="3" presStyleCnt="4"/>
      <dgm:spPr/>
    </dgm:pt>
    <dgm:pt modelId="{64679B71-70FE-4C43-82B0-2D471D96537D}" type="pres">
      <dgm:prSet presAssocID="{5F67DEF0-8711-42D2-940A-2535C9FCB85A}" presName="topConnNode1" presStyleLbl="node1" presStyleIdx="0" presStyleCnt="0"/>
      <dgm:spPr/>
    </dgm:pt>
    <dgm:pt modelId="{A2E9A6B8-8FCD-45D7-B742-DCCC6A0B4A55}" type="pres">
      <dgm:prSet presAssocID="{5F67DEF0-8711-42D2-940A-2535C9FCB85A}" presName="hierChild2" presStyleCnt="0"/>
      <dgm:spPr/>
    </dgm:pt>
    <dgm:pt modelId="{B2C1E722-7A19-4001-B28E-18DDA1F2D720}" type="pres">
      <dgm:prSet presAssocID="{5F67DEF0-8711-42D2-940A-2535C9FCB85A}" presName="hierChild3" presStyleCnt="0"/>
      <dgm:spPr/>
    </dgm:pt>
  </dgm:ptLst>
  <dgm:cxnLst>
    <dgm:cxn modelId="{5FD6D30F-208A-452F-AAF3-32A009F1C6FD}" type="presOf" srcId="{F7F10B88-CD53-4427-8874-FF70B958A448}" destId="{F9032172-A652-4DA4-9517-910F6162E5D7}" srcOrd="1" destOrd="0" presId="urn:microsoft.com/office/officeart/2008/layout/HalfCircleOrganizationChart"/>
    <dgm:cxn modelId="{2F8C1835-86A9-43EA-BBE9-C38CFACE4BD3}" srcId="{62721923-7DDD-4300-889E-6C2A9CF8CC2A}" destId="{5F67DEF0-8711-42D2-940A-2535C9FCB85A}" srcOrd="1" destOrd="0" parTransId="{8376CDC5-B702-451F-BC23-6690CB4CE2B7}" sibTransId="{2A87B34D-2101-4310-B986-38662524868E}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5927E471-8902-4E5A-AB19-3347DB15BEAF}" type="presOf" srcId="{5F67DEF0-8711-42D2-940A-2535C9FCB85A}" destId="{04CD67E7-208D-46C4-AF0E-E35A6F865705}" srcOrd="0" destOrd="0" presId="urn:microsoft.com/office/officeart/2008/layout/HalfCircleOrganizationChart"/>
    <dgm:cxn modelId="{2A1C579F-CB09-4287-8165-3ACF3E2C19B1}" srcId="{62721923-7DDD-4300-889E-6C2A9CF8CC2A}" destId="{F7F10B88-CD53-4427-8874-FF70B958A448}" srcOrd="0" destOrd="0" parTransId="{E2BB9579-BD0B-4F4D-AB16-C43043DEFD94}" sibTransId="{3FFC74D2-9988-49E6-AB93-5A6D4E9ED23B}"/>
    <dgm:cxn modelId="{DB54D0CE-A771-466D-A7C5-9CC69A28E783}" type="presOf" srcId="{5F67DEF0-8711-42D2-940A-2535C9FCB85A}" destId="{64679B71-70FE-4C43-82B0-2D471D96537D}" srcOrd="1" destOrd="0" presId="urn:microsoft.com/office/officeart/2008/layout/HalfCircleOrganizationChart"/>
    <dgm:cxn modelId="{9E18ACF7-B044-4E69-8C53-A61A8263489C}" type="presOf" srcId="{F7F10B88-CD53-4427-8874-FF70B958A448}" destId="{BEE96E92-FF1B-4AB0-B443-65D128C9DCE1}" srcOrd="0" destOrd="0" presId="urn:microsoft.com/office/officeart/2008/layout/HalfCircleOrganizationChart"/>
    <dgm:cxn modelId="{D942A756-86A7-4E46-9F59-6285D8CF6387}" type="presParOf" srcId="{9510110B-FEDE-49C0-9F6F-46821DEAD42A}" destId="{710D5C87-73FB-4E1A-83BE-2FA436D2E329}" srcOrd="0" destOrd="0" presId="urn:microsoft.com/office/officeart/2008/layout/HalfCircleOrganizationChart"/>
    <dgm:cxn modelId="{047A9327-0629-4C8C-B421-8D5BD61041D3}" type="presParOf" srcId="{710D5C87-73FB-4E1A-83BE-2FA436D2E329}" destId="{ABB56E5C-B422-4EB7-AD2C-FC30227CB26A}" srcOrd="0" destOrd="0" presId="urn:microsoft.com/office/officeart/2008/layout/HalfCircleOrganizationChart"/>
    <dgm:cxn modelId="{2AEA6B4A-778D-4A5A-AE05-3058915C2E24}" type="presParOf" srcId="{ABB56E5C-B422-4EB7-AD2C-FC30227CB26A}" destId="{BEE96E92-FF1B-4AB0-B443-65D128C9DCE1}" srcOrd="0" destOrd="0" presId="urn:microsoft.com/office/officeart/2008/layout/HalfCircleOrganizationChart"/>
    <dgm:cxn modelId="{DCECEE5F-5758-4763-8D16-DD410792C99D}" type="presParOf" srcId="{ABB56E5C-B422-4EB7-AD2C-FC30227CB26A}" destId="{AB960692-88E2-4F1E-8B0D-E3245F812F19}" srcOrd="1" destOrd="0" presId="urn:microsoft.com/office/officeart/2008/layout/HalfCircleOrganizationChart"/>
    <dgm:cxn modelId="{F2F038F1-2E40-4F4D-86FE-664D0DA71EB0}" type="presParOf" srcId="{ABB56E5C-B422-4EB7-AD2C-FC30227CB26A}" destId="{93642A3F-CD30-4862-9676-1B5A1DE169E6}" srcOrd="2" destOrd="0" presId="urn:microsoft.com/office/officeart/2008/layout/HalfCircleOrganizationChart"/>
    <dgm:cxn modelId="{BC249021-3E1D-441C-BA6A-387989C34345}" type="presParOf" srcId="{ABB56E5C-B422-4EB7-AD2C-FC30227CB26A}" destId="{F9032172-A652-4DA4-9517-910F6162E5D7}" srcOrd="3" destOrd="0" presId="urn:microsoft.com/office/officeart/2008/layout/HalfCircleOrganizationChart"/>
    <dgm:cxn modelId="{88FBDFA6-901F-4995-A32C-234FD97B5441}" type="presParOf" srcId="{710D5C87-73FB-4E1A-83BE-2FA436D2E329}" destId="{F8DD2959-8D4A-480A-93D5-634BB41AB817}" srcOrd="1" destOrd="0" presId="urn:microsoft.com/office/officeart/2008/layout/HalfCircleOrganizationChart"/>
    <dgm:cxn modelId="{86A49375-4BFC-48D4-A44C-B994C390BC53}" type="presParOf" srcId="{710D5C87-73FB-4E1A-83BE-2FA436D2E329}" destId="{C42EF594-3E8D-4CDD-9B82-A8BC4EF97210}" srcOrd="2" destOrd="0" presId="urn:microsoft.com/office/officeart/2008/layout/HalfCircleOrganizationChart"/>
    <dgm:cxn modelId="{36B4234B-8B3A-4D40-B324-5E4A6C663B59}" type="presParOf" srcId="{9510110B-FEDE-49C0-9F6F-46821DEAD42A}" destId="{C2738BD5-9E75-4E5B-8268-8EEF351A1218}" srcOrd="1" destOrd="0" presId="urn:microsoft.com/office/officeart/2008/layout/HalfCircleOrganizationChart"/>
    <dgm:cxn modelId="{003DFB43-05CC-4CCA-9CE2-0BEE264DD542}" type="presParOf" srcId="{C2738BD5-9E75-4E5B-8268-8EEF351A1218}" destId="{33436270-D073-44C8-8D3D-86AD5F085157}" srcOrd="0" destOrd="0" presId="urn:microsoft.com/office/officeart/2008/layout/HalfCircleOrganizationChart"/>
    <dgm:cxn modelId="{30E87611-157F-4632-9CB7-2054E20C880B}" type="presParOf" srcId="{33436270-D073-44C8-8D3D-86AD5F085157}" destId="{04CD67E7-208D-46C4-AF0E-E35A6F865705}" srcOrd="0" destOrd="0" presId="urn:microsoft.com/office/officeart/2008/layout/HalfCircleOrganizationChart"/>
    <dgm:cxn modelId="{79EE83A2-DD3B-460A-83E7-C05E051BF521}" type="presParOf" srcId="{33436270-D073-44C8-8D3D-86AD5F085157}" destId="{EFBCECC8-CA55-4092-A1A4-48009678FB80}" srcOrd="1" destOrd="0" presId="urn:microsoft.com/office/officeart/2008/layout/HalfCircleOrganizationChart"/>
    <dgm:cxn modelId="{DA05AE2A-76AF-464F-AE22-472FD8A3D023}" type="presParOf" srcId="{33436270-D073-44C8-8D3D-86AD5F085157}" destId="{75F042FE-5A8E-4D45-8938-06486985E68B}" srcOrd="2" destOrd="0" presId="urn:microsoft.com/office/officeart/2008/layout/HalfCircleOrganizationChart"/>
    <dgm:cxn modelId="{B19CEB1B-D2B5-4FDD-8E06-BEA96D384447}" type="presParOf" srcId="{33436270-D073-44C8-8D3D-86AD5F085157}" destId="{64679B71-70FE-4C43-82B0-2D471D96537D}" srcOrd="3" destOrd="0" presId="urn:microsoft.com/office/officeart/2008/layout/HalfCircleOrganizationChart"/>
    <dgm:cxn modelId="{F14C418A-9EE3-4455-A45B-64DF610218A3}" type="presParOf" srcId="{C2738BD5-9E75-4E5B-8268-8EEF351A1218}" destId="{A2E9A6B8-8FCD-45D7-B742-DCCC6A0B4A55}" srcOrd="1" destOrd="0" presId="urn:microsoft.com/office/officeart/2008/layout/HalfCircleOrganizationChart"/>
    <dgm:cxn modelId="{CA71DE1A-B893-48E4-8EAD-FD59378EA3A8}" type="presParOf" srcId="{C2738BD5-9E75-4E5B-8268-8EEF351A1218}" destId="{B2C1E722-7A19-4001-B28E-18DDA1F2D720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0C42F37B-7652-4449-8E55-417A756BBA2C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Non-sensitive data</a:t>
          </a:r>
        </a:p>
      </dgm:t>
    </dgm:pt>
    <dgm:pt modelId="{AE8B19D8-C263-4926-B869-EA9FCD8C70CC}" type="parTrans" cxnId="{627D2203-6B60-4B94-ACE5-D9C7A97189F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28953DF-C53C-4BD4-9149-C80527962E3A}" type="sibTrans" cxnId="{627D2203-6B60-4B94-ACE5-D9C7A97189F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0EC0A0F-A446-4AC4-8D0D-B538300A912B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Business shadowing</a:t>
          </a:r>
          <a:endParaRPr lang="en-GB" sz="2800" dirty="0">
            <a:solidFill>
              <a:schemeClr val="tx2"/>
            </a:solidFill>
          </a:endParaRPr>
        </a:p>
      </dgm:t>
    </dgm:pt>
    <dgm:pt modelId="{D5C13C82-B219-4FC4-A06E-178DF8ED8478}" type="parTrans" cxnId="{6DD06344-7491-4F56-96B0-3D99B7F7698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5A59649-2E3C-41BF-B9DF-4EC7421CEB1C}" type="sibTrans" cxnId="{6DD06344-7491-4F56-96B0-3D99B7F7698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7989D1F-F8C7-4AFA-8BC8-C763B9A57D2E}" type="pres">
      <dgm:prSet presAssocID="{0C42F37B-7652-4449-8E55-417A756BBA2C}" presName="hierRoot1" presStyleCnt="0">
        <dgm:presLayoutVars>
          <dgm:hierBranch val="init"/>
        </dgm:presLayoutVars>
      </dgm:prSet>
      <dgm:spPr/>
    </dgm:pt>
    <dgm:pt modelId="{ABDFDC6E-3F3A-4349-8C39-2A8782B32774}" type="pres">
      <dgm:prSet presAssocID="{0C42F37B-7652-4449-8E55-417A756BBA2C}" presName="rootComposite1" presStyleCnt="0"/>
      <dgm:spPr/>
    </dgm:pt>
    <dgm:pt modelId="{FAD3068B-D09B-4BE0-A02D-392F4ED9D523}" type="pres">
      <dgm:prSet presAssocID="{0C42F37B-7652-4449-8E55-417A756BBA2C}" presName="rootText1" presStyleLbl="alignAcc1" presStyleIdx="0" presStyleCnt="0">
        <dgm:presLayoutVars>
          <dgm:chPref val="3"/>
        </dgm:presLayoutVars>
      </dgm:prSet>
      <dgm:spPr/>
    </dgm:pt>
    <dgm:pt modelId="{12634C02-4855-4AD1-AAD1-1EA3418B8F0E}" type="pres">
      <dgm:prSet presAssocID="{0C42F37B-7652-4449-8E55-417A756BBA2C}" presName="topArc1" presStyleLbl="parChTrans1D1" presStyleIdx="0" presStyleCnt="4"/>
      <dgm:spPr/>
    </dgm:pt>
    <dgm:pt modelId="{78FDE28F-AC5D-4145-AA52-F41BF12E4EFA}" type="pres">
      <dgm:prSet presAssocID="{0C42F37B-7652-4449-8E55-417A756BBA2C}" presName="bottomArc1" presStyleLbl="parChTrans1D1" presStyleIdx="1" presStyleCnt="4"/>
      <dgm:spPr/>
    </dgm:pt>
    <dgm:pt modelId="{6630DC3D-513E-490B-8F06-BA09733369F1}" type="pres">
      <dgm:prSet presAssocID="{0C42F37B-7652-4449-8E55-417A756BBA2C}" presName="topConnNode1" presStyleLbl="node1" presStyleIdx="0" presStyleCnt="0"/>
      <dgm:spPr/>
    </dgm:pt>
    <dgm:pt modelId="{C1B58BB5-60FC-48F9-9FDD-2576740E07D0}" type="pres">
      <dgm:prSet presAssocID="{0C42F37B-7652-4449-8E55-417A756BBA2C}" presName="hierChild2" presStyleCnt="0"/>
      <dgm:spPr/>
    </dgm:pt>
    <dgm:pt modelId="{5F7E0382-AC36-4B69-87C2-9D0C36B1621D}" type="pres">
      <dgm:prSet presAssocID="{0C42F37B-7652-4449-8E55-417A756BBA2C}" presName="hierChild3" presStyleCnt="0"/>
      <dgm:spPr/>
    </dgm:pt>
    <dgm:pt modelId="{2C615166-789E-4D85-9EB1-4A5A274B1F94}" type="pres">
      <dgm:prSet presAssocID="{10EC0A0F-A446-4AC4-8D0D-B538300A912B}" presName="hierRoot1" presStyleCnt="0">
        <dgm:presLayoutVars>
          <dgm:hierBranch val="init"/>
        </dgm:presLayoutVars>
      </dgm:prSet>
      <dgm:spPr/>
    </dgm:pt>
    <dgm:pt modelId="{CEFF4968-3EE6-4D11-8562-E6DE8976AB9E}" type="pres">
      <dgm:prSet presAssocID="{10EC0A0F-A446-4AC4-8D0D-B538300A912B}" presName="rootComposite1" presStyleCnt="0"/>
      <dgm:spPr/>
    </dgm:pt>
    <dgm:pt modelId="{3D5FE2AA-9340-4FF3-BB8B-A844B89298FD}" type="pres">
      <dgm:prSet presAssocID="{10EC0A0F-A446-4AC4-8D0D-B538300A912B}" presName="rootText1" presStyleLbl="alignAcc1" presStyleIdx="0" presStyleCnt="0">
        <dgm:presLayoutVars>
          <dgm:chPref val="3"/>
        </dgm:presLayoutVars>
      </dgm:prSet>
      <dgm:spPr/>
    </dgm:pt>
    <dgm:pt modelId="{4364D7B0-DF44-4ED5-9346-488877CA773E}" type="pres">
      <dgm:prSet presAssocID="{10EC0A0F-A446-4AC4-8D0D-B538300A912B}" presName="topArc1" presStyleLbl="parChTrans1D1" presStyleIdx="2" presStyleCnt="4"/>
      <dgm:spPr/>
    </dgm:pt>
    <dgm:pt modelId="{EE209DBE-9E58-4C16-AF70-D35331A374CB}" type="pres">
      <dgm:prSet presAssocID="{10EC0A0F-A446-4AC4-8D0D-B538300A912B}" presName="bottomArc1" presStyleLbl="parChTrans1D1" presStyleIdx="3" presStyleCnt="4"/>
      <dgm:spPr/>
    </dgm:pt>
    <dgm:pt modelId="{BDA520FF-72D6-45BD-AD56-7F6FC1A709DB}" type="pres">
      <dgm:prSet presAssocID="{10EC0A0F-A446-4AC4-8D0D-B538300A912B}" presName="topConnNode1" presStyleLbl="node1" presStyleIdx="0" presStyleCnt="0"/>
      <dgm:spPr/>
    </dgm:pt>
    <dgm:pt modelId="{9A6F2B45-4501-4D83-8219-98290D38E26A}" type="pres">
      <dgm:prSet presAssocID="{10EC0A0F-A446-4AC4-8D0D-B538300A912B}" presName="hierChild2" presStyleCnt="0"/>
      <dgm:spPr/>
    </dgm:pt>
    <dgm:pt modelId="{CDFFBE89-D31D-4A7C-AD43-2260EFE431CB}" type="pres">
      <dgm:prSet presAssocID="{10EC0A0F-A446-4AC4-8D0D-B538300A912B}" presName="hierChild3" presStyleCnt="0"/>
      <dgm:spPr/>
    </dgm:pt>
  </dgm:ptLst>
  <dgm:cxnLst>
    <dgm:cxn modelId="{627D2203-6B60-4B94-ACE5-D9C7A97189F2}" srcId="{62721923-7DDD-4300-889E-6C2A9CF8CC2A}" destId="{0C42F37B-7652-4449-8E55-417A756BBA2C}" srcOrd="0" destOrd="0" parTransId="{AE8B19D8-C263-4926-B869-EA9FCD8C70CC}" sibTransId="{128953DF-C53C-4BD4-9149-C80527962E3A}"/>
    <dgm:cxn modelId="{D1E3BD12-E133-4FEA-A532-2AE32FE62797}" type="presOf" srcId="{0C42F37B-7652-4449-8E55-417A756BBA2C}" destId="{FAD3068B-D09B-4BE0-A02D-392F4ED9D523}" srcOrd="0" destOrd="0" presId="urn:microsoft.com/office/officeart/2008/layout/HalfCircleOrganizationChart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6DD06344-7491-4F56-96B0-3D99B7F76980}" srcId="{62721923-7DDD-4300-889E-6C2A9CF8CC2A}" destId="{10EC0A0F-A446-4AC4-8D0D-B538300A912B}" srcOrd="1" destOrd="0" parTransId="{D5C13C82-B219-4FC4-A06E-178DF8ED8478}" sibTransId="{55A59649-2E3C-41BF-B9DF-4EC7421CEB1C}"/>
    <dgm:cxn modelId="{3547556B-1E3C-4891-8DD5-2B39756260C1}" type="presOf" srcId="{10EC0A0F-A446-4AC4-8D0D-B538300A912B}" destId="{BDA520FF-72D6-45BD-AD56-7F6FC1A709DB}" srcOrd="1" destOrd="0" presId="urn:microsoft.com/office/officeart/2008/layout/HalfCircleOrganizationChart"/>
    <dgm:cxn modelId="{C872F381-DE5A-440C-9E66-D8186BD29CD7}" type="presOf" srcId="{10EC0A0F-A446-4AC4-8D0D-B538300A912B}" destId="{3D5FE2AA-9340-4FF3-BB8B-A844B89298FD}" srcOrd="0" destOrd="0" presId="urn:microsoft.com/office/officeart/2008/layout/HalfCircleOrganizationChart"/>
    <dgm:cxn modelId="{37A4FED1-C7B8-4BD8-95DB-EE396147A277}" type="presOf" srcId="{0C42F37B-7652-4449-8E55-417A756BBA2C}" destId="{6630DC3D-513E-490B-8F06-BA09733369F1}" srcOrd="1" destOrd="0" presId="urn:microsoft.com/office/officeart/2008/layout/HalfCircleOrganizationChart"/>
    <dgm:cxn modelId="{0CC8C8DA-87A9-450D-B74B-7F794EE69A81}" type="presParOf" srcId="{9510110B-FEDE-49C0-9F6F-46821DEAD42A}" destId="{A7989D1F-F8C7-4AFA-8BC8-C763B9A57D2E}" srcOrd="0" destOrd="0" presId="urn:microsoft.com/office/officeart/2008/layout/HalfCircleOrganizationChart"/>
    <dgm:cxn modelId="{A14B7D8B-A92F-4CB4-9D4A-319D0E3EAFF7}" type="presParOf" srcId="{A7989D1F-F8C7-4AFA-8BC8-C763B9A57D2E}" destId="{ABDFDC6E-3F3A-4349-8C39-2A8782B32774}" srcOrd="0" destOrd="0" presId="urn:microsoft.com/office/officeart/2008/layout/HalfCircleOrganizationChart"/>
    <dgm:cxn modelId="{54DDD79D-25E1-41D0-AE1E-00A16E086FF1}" type="presParOf" srcId="{ABDFDC6E-3F3A-4349-8C39-2A8782B32774}" destId="{FAD3068B-D09B-4BE0-A02D-392F4ED9D523}" srcOrd="0" destOrd="0" presId="urn:microsoft.com/office/officeart/2008/layout/HalfCircleOrganizationChart"/>
    <dgm:cxn modelId="{6DCA1C58-A6D7-475D-BBE5-5C5891EB57E5}" type="presParOf" srcId="{ABDFDC6E-3F3A-4349-8C39-2A8782B32774}" destId="{12634C02-4855-4AD1-AAD1-1EA3418B8F0E}" srcOrd="1" destOrd="0" presId="urn:microsoft.com/office/officeart/2008/layout/HalfCircleOrganizationChart"/>
    <dgm:cxn modelId="{DABA3D89-2451-4569-A147-39555509DCE1}" type="presParOf" srcId="{ABDFDC6E-3F3A-4349-8C39-2A8782B32774}" destId="{78FDE28F-AC5D-4145-AA52-F41BF12E4EFA}" srcOrd="2" destOrd="0" presId="urn:microsoft.com/office/officeart/2008/layout/HalfCircleOrganizationChart"/>
    <dgm:cxn modelId="{A27C3354-0F1F-4BC5-975D-8DC588C120F4}" type="presParOf" srcId="{ABDFDC6E-3F3A-4349-8C39-2A8782B32774}" destId="{6630DC3D-513E-490B-8F06-BA09733369F1}" srcOrd="3" destOrd="0" presId="urn:microsoft.com/office/officeart/2008/layout/HalfCircleOrganizationChart"/>
    <dgm:cxn modelId="{5A27DBA7-D017-4A55-9928-3AB9559B1D34}" type="presParOf" srcId="{A7989D1F-F8C7-4AFA-8BC8-C763B9A57D2E}" destId="{C1B58BB5-60FC-48F9-9FDD-2576740E07D0}" srcOrd="1" destOrd="0" presId="urn:microsoft.com/office/officeart/2008/layout/HalfCircleOrganizationChart"/>
    <dgm:cxn modelId="{0E839C2E-D31E-4692-8CEA-A7168582FCC2}" type="presParOf" srcId="{A7989D1F-F8C7-4AFA-8BC8-C763B9A57D2E}" destId="{5F7E0382-AC36-4B69-87C2-9D0C36B1621D}" srcOrd="2" destOrd="0" presId="urn:microsoft.com/office/officeart/2008/layout/HalfCircleOrganizationChart"/>
    <dgm:cxn modelId="{3EABE391-9F42-46FB-B79F-D2C5396C260B}" type="presParOf" srcId="{9510110B-FEDE-49C0-9F6F-46821DEAD42A}" destId="{2C615166-789E-4D85-9EB1-4A5A274B1F94}" srcOrd="1" destOrd="0" presId="urn:microsoft.com/office/officeart/2008/layout/HalfCircleOrganizationChart"/>
    <dgm:cxn modelId="{36FA2F22-1B7A-4A5F-9C2D-DBE500C5BAD4}" type="presParOf" srcId="{2C615166-789E-4D85-9EB1-4A5A274B1F94}" destId="{CEFF4968-3EE6-4D11-8562-E6DE8976AB9E}" srcOrd="0" destOrd="0" presId="urn:microsoft.com/office/officeart/2008/layout/HalfCircleOrganizationChart"/>
    <dgm:cxn modelId="{8C3A06BA-4CB6-4B30-996B-7DCC3BB5779B}" type="presParOf" srcId="{CEFF4968-3EE6-4D11-8562-E6DE8976AB9E}" destId="{3D5FE2AA-9340-4FF3-BB8B-A844B89298FD}" srcOrd="0" destOrd="0" presId="urn:microsoft.com/office/officeart/2008/layout/HalfCircleOrganizationChart"/>
    <dgm:cxn modelId="{FF2AED2A-864F-4BBE-A267-D0DA300FC01B}" type="presParOf" srcId="{CEFF4968-3EE6-4D11-8562-E6DE8976AB9E}" destId="{4364D7B0-DF44-4ED5-9346-488877CA773E}" srcOrd="1" destOrd="0" presId="urn:microsoft.com/office/officeart/2008/layout/HalfCircleOrganizationChart"/>
    <dgm:cxn modelId="{1A816D3E-F5EA-4A0C-9D48-275B0F9213C5}" type="presParOf" srcId="{CEFF4968-3EE6-4D11-8562-E6DE8976AB9E}" destId="{EE209DBE-9E58-4C16-AF70-D35331A374CB}" srcOrd="2" destOrd="0" presId="urn:microsoft.com/office/officeart/2008/layout/HalfCircleOrganizationChart"/>
    <dgm:cxn modelId="{307A6D58-E87B-4EE9-BDBD-302DB10DBF8A}" type="presParOf" srcId="{CEFF4968-3EE6-4D11-8562-E6DE8976AB9E}" destId="{BDA520FF-72D6-45BD-AD56-7F6FC1A709DB}" srcOrd="3" destOrd="0" presId="urn:microsoft.com/office/officeart/2008/layout/HalfCircleOrganizationChart"/>
    <dgm:cxn modelId="{E8336708-3589-49DD-AB4C-614AD85B4466}" type="presParOf" srcId="{2C615166-789E-4D85-9EB1-4A5A274B1F94}" destId="{9A6F2B45-4501-4D83-8219-98290D38E26A}" srcOrd="1" destOrd="0" presId="urn:microsoft.com/office/officeart/2008/layout/HalfCircleOrganizationChart"/>
    <dgm:cxn modelId="{96552B2F-799F-4793-A9EE-6849BADED8D3}" type="presParOf" srcId="{2C615166-789E-4D85-9EB1-4A5A274B1F94}" destId="{CDFFBE89-D31D-4A7C-AD43-2260EFE431CB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7F10B88-CD53-4427-8874-FF70B958A448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Involve IT, Business &amp; Security</a:t>
          </a:r>
          <a:endParaRPr lang="en-GB" sz="2800" dirty="0">
            <a:solidFill>
              <a:schemeClr val="tx2"/>
            </a:solidFill>
          </a:endParaRPr>
        </a:p>
      </dgm:t>
    </dgm:pt>
    <dgm:pt modelId="{E2BB9579-BD0B-4F4D-AB16-C43043DEFD94}" type="par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FC74D2-9988-49E6-AB93-5A6D4E9ED23B}" type="sib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71DF9F-E9DD-43D1-BEC0-1E55422078A4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Leverage existing relationships</a:t>
          </a:r>
        </a:p>
      </dgm:t>
    </dgm:pt>
    <dgm:pt modelId="{7A610807-1752-4E3D-BA30-5BF88E99ABB2}" type="parTrans" cxnId="{A831C1C6-AE8F-4954-996D-9B21EBACA9F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4086A2-341A-4B21-AF82-1D61E0ABA253}" type="sibTrans" cxnId="{A831C1C6-AE8F-4954-996D-9B21EBACA9F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0D5C87-73FB-4E1A-83BE-2FA436D2E329}" type="pres">
      <dgm:prSet presAssocID="{F7F10B88-CD53-4427-8874-FF70B958A448}" presName="hierRoot1" presStyleCnt="0">
        <dgm:presLayoutVars>
          <dgm:hierBranch val="init"/>
        </dgm:presLayoutVars>
      </dgm:prSet>
      <dgm:spPr/>
    </dgm:pt>
    <dgm:pt modelId="{ABB56E5C-B422-4EB7-AD2C-FC30227CB26A}" type="pres">
      <dgm:prSet presAssocID="{F7F10B88-CD53-4427-8874-FF70B958A448}" presName="rootComposite1" presStyleCnt="0"/>
      <dgm:spPr/>
    </dgm:pt>
    <dgm:pt modelId="{BEE96E92-FF1B-4AB0-B443-65D128C9DCE1}" type="pres">
      <dgm:prSet presAssocID="{F7F10B88-CD53-4427-8874-FF70B958A448}" presName="rootText1" presStyleLbl="alignAcc1" presStyleIdx="0" presStyleCnt="0">
        <dgm:presLayoutVars>
          <dgm:chPref val="3"/>
        </dgm:presLayoutVars>
      </dgm:prSet>
      <dgm:spPr/>
    </dgm:pt>
    <dgm:pt modelId="{AB960692-88E2-4F1E-8B0D-E3245F812F19}" type="pres">
      <dgm:prSet presAssocID="{F7F10B88-CD53-4427-8874-FF70B958A448}" presName="topArc1" presStyleLbl="parChTrans1D1" presStyleIdx="0" presStyleCnt="4"/>
      <dgm:spPr/>
    </dgm:pt>
    <dgm:pt modelId="{93642A3F-CD30-4862-9676-1B5A1DE169E6}" type="pres">
      <dgm:prSet presAssocID="{F7F10B88-CD53-4427-8874-FF70B958A448}" presName="bottomArc1" presStyleLbl="parChTrans1D1" presStyleIdx="1" presStyleCnt="4"/>
      <dgm:spPr/>
    </dgm:pt>
    <dgm:pt modelId="{F9032172-A652-4DA4-9517-910F6162E5D7}" type="pres">
      <dgm:prSet presAssocID="{F7F10B88-CD53-4427-8874-FF70B958A448}" presName="topConnNode1" presStyleLbl="node1" presStyleIdx="0" presStyleCnt="0"/>
      <dgm:spPr/>
    </dgm:pt>
    <dgm:pt modelId="{F8DD2959-8D4A-480A-93D5-634BB41AB817}" type="pres">
      <dgm:prSet presAssocID="{F7F10B88-CD53-4427-8874-FF70B958A448}" presName="hierChild2" presStyleCnt="0"/>
      <dgm:spPr/>
    </dgm:pt>
    <dgm:pt modelId="{C42EF594-3E8D-4CDD-9B82-A8BC4EF97210}" type="pres">
      <dgm:prSet presAssocID="{F7F10B88-CD53-4427-8874-FF70B958A448}" presName="hierChild3" presStyleCnt="0"/>
      <dgm:spPr/>
    </dgm:pt>
    <dgm:pt modelId="{A423B32D-4D6C-47EF-B51E-E95CA0707AF0}" type="pres">
      <dgm:prSet presAssocID="{7E71DF9F-E9DD-43D1-BEC0-1E55422078A4}" presName="hierRoot1" presStyleCnt="0">
        <dgm:presLayoutVars>
          <dgm:hierBranch val="init"/>
        </dgm:presLayoutVars>
      </dgm:prSet>
      <dgm:spPr/>
    </dgm:pt>
    <dgm:pt modelId="{5A94E844-01A1-4802-B9B9-EFCDCE5B7C9C}" type="pres">
      <dgm:prSet presAssocID="{7E71DF9F-E9DD-43D1-BEC0-1E55422078A4}" presName="rootComposite1" presStyleCnt="0"/>
      <dgm:spPr/>
    </dgm:pt>
    <dgm:pt modelId="{E8DACB5A-7A81-4FF7-A070-354FA6DD0E6F}" type="pres">
      <dgm:prSet presAssocID="{7E71DF9F-E9DD-43D1-BEC0-1E55422078A4}" presName="rootText1" presStyleLbl="alignAcc1" presStyleIdx="0" presStyleCnt="0">
        <dgm:presLayoutVars>
          <dgm:chPref val="3"/>
        </dgm:presLayoutVars>
      </dgm:prSet>
      <dgm:spPr/>
    </dgm:pt>
    <dgm:pt modelId="{8081E4B8-1EEE-4DE6-AC6D-9833C48E8249}" type="pres">
      <dgm:prSet presAssocID="{7E71DF9F-E9DD-43D1-BEC0-1E55422078A4}" presName="topArc1" presStyleLbl="parChTrans1D1" presStyleIdx="2" presStyleCnt="4"/>
      <dgm:spPr/>
    </dgm:pt>
    <dgm:pt modelId="{1EDDBD0A-721F-41A3-9E5C-F9636709EBD3}" type="pres">
      <dgm:prSet presAssocID="{7E71DF9F-E9DD-43D1-BEC0-1E55422078A4}" presName="bottomArc1" presStyleLbl="parChTrans1D1" presStyleIdx="3" presStyleCnt="4"/>
      <dgm:spPr/>
    </dgm:pt>
    <dgm:pt modelId="{5E64D2C6-7A9F-4566-A32F-99C7D5C7F830}" type="pres">
      <dgm:prSet presAssocID="{7E71DF9F-E9DD-43D1-BEC0-1E55422078A4}" presName="topConnNode1" presStyleLbl="node1" presStyleIdx="0" presStyleCnt="0"/>
      <dgm:spPr/>
    </dgm:pt>
    <dgm:pt modelId="{CB8A90D9-BAC2-45D6-99B5-AF1C8AB6809B}" type="pres">
      <dgm:prSet presAssocID="{7E71DF9F-E9DD-43D1-BEC0-1E55422078A4}" presName="hierChild2" presStyleCnt="0"/>
      <dgm:spPr/>
    </dgm:pt>
    <dgm:pt modelId="{74DFBBCF-674C-4913-A67B-3C6BECA2E37B}" type="pres">
      <dgm:prSet presAssocID="{7E71DF9F-E9DD-43D1-BEC0-1E55422078A4}" presName="hierChild3" presStyleCnt="0"/>
      <dgm:spPr/>
    </dgm:pt>
  </dgm:ptLst>
  <dgm:cxnLst>
    <dgm:cxn modelId="{5FD6D30F-208A-452F-AAF3-32A009F1C6FD}" type="presOf" srcId="{F7F10B88-CD53-4427-8874-FF70B958A448}" destId="{F9032172-A652-4DA4-9517-910F6162E5D7}" srcOrd="1" destOrd="0" presId="urn:microsoft.com/office/officeart/2008/layout/HalfCircleOrganizationChart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F437B968-66CA-468C-8EF1-AB8F207D7DA0}" type="presOf" srcId="{7E71DF9F-E9DD-43D1-BEC0-1E55422078A4}" destId="{E8DACB5A-7A81-4FF7-A070-354FA6DD0E6F}" srcOrd="0" destOrd="0" presId="urn:microsoft.com/office/officeart/2008/layout/HalfCircleOrganizationChart"/>
    <dgm:cxn modelId="{152B6D73-3C11-494C-9EBD-4524BCF37C7B}" type="presOf" srcId="{7E71DF9F-E9DD-43D1-BEC0-1E55422078A4}" destId="{5E64D2C6-7A9F-4566-A32F-99C7D5C7F830}" srcOrd="1" destOrd="0" presId="urn:microsoft.com/office/officeart/2008/layout/HalfCircleOrganizationChart"/>
    <dgm:cxn modelId="{2A1C579F-CB09-4287-8165-3ACF3E2C19B1}" srcId="{62721923-7DDD-4300-889E-6C2A9CF8CC2A}" destId="{F7F10B88-CD53-4427-8874-FF70B958A448}" srcOrd="0" destOrd="0" parTransId="{E2BB9579-BD0B-4F4D-AB16-C43043DEFD94}" sibTransId="{3FFC74D2-9988-49E6-AB93-5A6D4E9ED23B}"/>
    <dgm:cxn modelId="{A831C1C6-AE8F-4954-996D-9B21EBACA9FC}" srcId="{62721923-7DDD-4300-889E-6C2A9CF8CC2A}" destId="{7E71DF9F-E9DD-43D1-BEC0-1E55422078A4}" srcOrd="1" destOrd="0" parTransId="{7A610807-1752-4E3D-BA30-5BF88E99ABB2}" sibTransId="{7E4086A2-341A-4B21-AF82-1D61E0ABA253}"/>
    <dgm:cxn modelId="{9E18ACF7-B044-4E69-8C53-A61A8263489C}" type="presOf" srcId="{F7F10B88-CD53-4427-8874-FF70B958A448}" destId="{BEE96E92-FF1B-4AB0-B443-65D128C9DCE1}" srcOrd="0" destOrd="0" presId="urn:microsoft.com/office/officeart/2008/layout/HalfCircleOrganizationChart"/>
    <dgm:cxn modelId="{D942A756-86A7-4E46-9F59-6285D8CF6387}" type="presParOf" srcId="{9510110B-FEDE-49C0-9F6F-46821DEAD42A}" destId="{710D5C87-73FB-4E1A-83BE-2FA436D2E329}" srcOrd="0" destOrd="0" presId="urn:microsoft.com/office/officeart/2008/layout/HalfCircleOrganizationChart"/>
    <dgm:cxn modelId="{047A9327-0629-4C8C-B421-8D5BD61041D3}" type="presParOf" srcId="{710D5C87-73FB-4E1A-83BE-2FA436D2E329}" destId="{ABB56E5C-B422-4EB7-AD2C-FC30227CB26A}" srcOrd="0" destOrd="0" presId="urn:microsoft.com/office/officeart/2008/layout/HalfCircleOrganizationChart"/>
    <dgm:cxn modelId="{2AEA6B4A-778D-4A5A-AE05-3058915C2E24}" type="presParOf" srcId="{ABB56E5C-B422-4EB7-AD2C-FC30227CB26A}" destId="{BEE96E92-FF1B-4AB0-B443-65D128C9DCE1}" srcOrd="0" destOrd="0" presId="urn:microsoft.com/office/officeart/2008/layout/HalfCircleOrganizationChart"/>
    <dgm:cxn modelId="{DCECEE5F-5758-4763-8D16-DD410792C99D}" type="presParOf" srcId="{ABB56E5C-B422-4EB7-AD2C-FC30227CB26A}" destId="{AB960692-88E2-4F1E-8B0D-E3245F812F19}" srcOrd="1" destOrd="0" presId="urn:microsoft.com/office/officeart/2008/layout/HalfCircleOrganizationChart"/>
    <dgm:cxn modelId="{F2F038F1-2E40-4F4D-86FE-664D0DA71EB0}" type="presParOf" srcId="{ABB56E5C-B422-4EB7-AD2C-FC30227CB26A}" destId="{93642A3F-CD30-4862-9676-1B5A1DE169E6}" srcOrd="2" destOrd="0" presId="urn:microsoft.com/office/officeart/2008/layout/HalfCircleOrganizationChart"/>
    <dgm:cxn modelId="{BC249021-3E1D-441C-BA6A-387989C34345}" type="presParOf" srcId="{ABB56E5C-B422-4EB7-AD2C-FC30227CB26A}" destId="{F9032172-A652-4DA4-9517-910F6162E5D7}" srcOrd="3" destOrd="0" presId="urn:microsoft.com/office/officeart/2008/layout/HalfCircleOrganizationChart"/>
    <dgm:cxn modelId="{88FBDFA6-901F-4995-A32C-234FD97B5441}" type="presParOf" srcId="{710D5C87-73FB-4E1A-83BE-2FA436D2E329}" destId="{F8DD2959-8D4A-480A-93D5-634BB41AB817}" srcOrd="1" destOrd="0" presId="urn:microsoft.com/office/officeart/2008/layout/HalfCircleOrganizationChart"/>
    <dgm:cxn modelId="{86A49375-4BFC-48D4-A44C-B994C390BC53}" type="presParOf" srcId="{710D5C87-73FB-4E1A-83BE-2FA436D2E329}" destId="{C42EF594-3E8D-4CDD-9B82-A8BC4EF97210}" srcOrd="2" destOrd="0" presId="urn:microsoft.com/office/officeart/2008/layout/HalfCircleOrganizationChart"/>
    <dgm:cxn modelId="{5CEAD558-6596-419E-9C44-AB73EC68E515}" type="presParOf" srcId="{9510110B-FEDE-49C0-9F6F-46821DEAD42A}" destId="{A423B32D-4D6C-47EF-B51E-E95CA0707AF0}" srcOrd="1" destOrd="0" presId="urn:microsoft.com/office/officeart/2008/layout/HalfCircleOrganizationChart"/>
    <dgm:cxn modelId="{F5471151-3384-47EC-B496-B63C987C159A}" type="presParOf" srcId="{A423B32D-4D6C-47EF-B51E-E95CA0707AF0}" destId="{5A94E844-01A1-4802-B9B9-EFCDCE5B7C9C}" srcOrd="0" destOrd="0" presId="urn:microsoft.com/office/officeart/2008/layout/HalfCircleOrganizationChart"/>
    <dgm:cxn modelId="{F5012E08-3051-4D74-B13F-1D881D9FEEF1}" type="presParOf" srcId="{5A94E844-01A1-4802-B9B9-EFCDCE5B7C9C}" destId="{E8DACB5A-7A81-4FF7-A070-354FA6DD0E6F}" srcOrd="0" destOrd="0" presId="urn:microsoft.com/office/officeart/2008/layout/HalfCircleOrganizationChart"/>
    <dgm:cxn modelId="{C8F0B571-519E-4AD2-B85A-7611DC7B11C3}" type="presParOf" srcId="{5A94E844-01A1-4802-B9B9-EFCDCE5B7C9C}" destId="{8081E4B8-1EEE-4DE6-AC6D-9833C48E8249}" srcOrd="1" destOrd="0" presId="urn:microsoft.com/office/officeart/2008/layout/HalfCircleOrganizationChart"/>
    <dgm:cxn modelId="{B39787F0-D342-494C-8689-333EB8FC3536}" type="presParOf" srcId="{5A94E844-01A1-4802-B9B9-EFCDCE5B7C9C}" destId="{1EDDBD0A-721F-41A3-9E5C-F9636709EBD3}" srcOrd="2" destOrd="0" presId="urn:microsoft.com/office/officeart/2008/layout/HalfCircleOrganizationChart"/>
    <dgm:cxn modelId="{A48410C8-EE0A-42C2-B9A8-751098A7E39F}" type="presParOf" srcId="{5A94E844-01A1-4802-B9B9-EFCDCE5B7C9C}" destId="{5E64D2C6-7A9F-4566-A32F-99C7D5C7F830}" srcOrd="3" destOrd="0" presId="urn:microsoft.com/office/officeart/2008/layout/HalfCircleOrganizationChart"/>
    <dgm:cxn modelId="{37D4B000-B804-495A-8777-B5DBF5C9B408}" type="presParOf" srcId="{A423B32D-4D6C-47EF-B51E-E95CA0707AF0}" destId="{CB8A90D9-BAC2-45D6-99B5-AF1C8AB6809B}" srcOrd="1" destOrd="0" presId="urn:microsoft.com/office/officeart/2008/layout/HalfCircleOrganizationChart"/>
    <dgm:cxn modelId="{EA820AB0-8575-4A0B-839D-209A42473E10}" type="presParOf" srcId="{A423B32D-4D6C-47EF-B51E-E95CA0707AF0}" destId="{74DFBBCF-674C-4913-A67B-3C6BECA2E37B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5940E574-5B7E-4C98-B5BB-E46CF6DA2254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Propose options &amp; recommend</a:t>
          </a:r>
        </a:p>
      </dgm:t>
    </dgm:pt>
    <dgm:pt modelId="{E5F5CB62-1973-4419-9599-929974BC9A07}" type="sibTrans" cxnId="{74B520F2-4012-44E9-B95F-1D65FB94AA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5132850-BD46-4FBE-B672-1F034413CE24}" type="parTrans" cxnId="{74B520F2-4012-44E9-B95F-1D65FB94AA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113215E-E7C4-4B49-9275-B26B4C1B0512}">
      <dgm:prSet custT="1"/>
      <dgm:spPr/>
      <dgm:t>
        <a:bodyPr/>
        <a:lstStyle/>
        <a:p>
          <a:pPr rtl="0"/>
          <a:r>
            <a:rPr lang="en-GB" sz="2800">
              <a:solidFill>
                <a:schemeClr val="tx2"/>
              </a:solidFill>
            </a:rPr>
            <a:t>Environment </a:t>
          </a:r>
          <a:r>
            <a:rPr lang="en-GB" sz="2800" dirty="0">
              <a:solidFill>
                <a:schemeClr val="tx2"/>
              </a:solidFill>
            </a:rPr>
            <a:t>&amp; culture</a:t>
          </a:r>
        </a:p>
      </dgm:t>
    </dgm:pt>
    <dgm:pt modelId="{FD325D38-3EED-47E2-A78D-54B48A9913D6}" type="parTrans" cxnId="{E0A981B9-9B8D-4BC3-9457-44DC24D6CFA0}">
      <dgm:prSet/>
      <dgm:spPr/>
      <dgm:t>
        <a:bodyPr/>
        <a:lstStyle/>
        <a:p>
          <a:endParaRPr lang="en-GB"/>
        </a:p>
      </dgm:t>
    </dgm:pt>
    <dgm:pt modelId="{06C3D6CB-07AC-43EE-A87B-0A3EA291E993}" type="sibTrans" cxnId="{E0A981B9-9B8D-4BC3-9457-44DC24D6CFA0}">
      <dgm:prSet/>
      <dgm:spPr/>
      <dgm:t>
        <a:bodyPr/>
        <a:lstStyle/>
        <a:p>
          <a:endParaRPr lang="en-GB"/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894A642-0FA8-4FCF-9ABF-9031DE93C7E7}" type="pres">
      <dgm:prSet presAssocID="{5940E574-5B7E-4C98-B5BB-E46CF6DA2254}" presName="hierRoot1" presStyleCnt="0">
        <dgm:presLayoutVars>
          <dgm:hierBranch val="init"/>
        </dgm:presLayoutVars>
      </dgm:prSet>
      <dgm:spPr/>
    </dgm:pt>
    <dgm:pt modelId="{49BDBD5E-718E-4D0E-9A99-58C08792DDBA}" type="pres">
      <dgm:prSet presAssocID="{5940E574-5B7E-4C98-B5BB-E46CF6DA2254}" presName="rootComposite1" presStyleCnt="0"/>
      <dgm:spPr/>
    </dgm:pt>
    <dgm:pt modelId="{0F9129E4-DC45-4D15-AA12-27E376B7EAB8}" type="pres">
      <dgm:prSet presAssocID="{5940E574-5B7E-4C98-B5BB-E46CF6DA2254}" presName="rootText1" presStyleLbl="alignAcc1" presStyleIdx="0" presStyleCnt="0">
        <dgm:presLayoutVars>
          <dgm:chPref val="3"/>
        </dgm:presLayoutVars>
      </dgm:prSet>
      <dgm:spPr/>
    </dgm:pt>
    <dgm:pt modelId="{29BDE07B-7138-4809-91D7-B2EE84BE9312}" type="pres">
      <dgm:prSet presAssocID="{5940E574-5B7E-4C98-B5BB-E46CF6DA2254}" presName="topArc1" presStyleLbl="parChTrans1D1" presStyleIdx="0" presStyleCnt="4"/>
      <dgm:spPr/>
    </dgm:pt>
    <dgm:pt modelId="{12B642E5-FDBC-4A7F-8826-BE1C0AE0E379}" type="pres">
      <dgm:prSet presAssocID="{5940E574-5B7E-4C98-B5BB-E46CF6DA2254}" presName="bottomArc1" presStyleLbl="parChTrans1D1" presStyleIdx="1" presStyleCnt="4"/>
      <dgm:spPr/>
    </dgm:pt>
    <dgm:pt modelId="{FFB0F309-0AEF-433F-A5D3-BD3D5B8A7EE3}" type="pres">
      <dgm:prSet presAssocID="{5940E574-5B7E-4C98-B5BB-E46CF6DA2254}" presName="topConnNode1" presStyleLbl="node1" presStyleIdx="0" presStyleCnt="0"/>
      <dgm:spPr/>
    </dgm:pt>
    <dgm:pt modelId="{1FCF01AB-FD5E-4BDE-B439-644E9691B077}" type="pres">
      <dgm:prSet presAssocID="{5940E574-5B7E-4C98-B5BB-E46CF6DA2254}" presName="hierChild2" presStyleCnt="0"/>
      <dgm:spPr/>
    </dgm:pt>
    <dgm:pt modelId="{36EF7D57-196D-4481-A5E1-9BF14F865AEC}" type="pres">
      <dgm:prSet presAssocID="{5940E574-5B7E-4C98-B5BB-E46CF6DA2254}" presName="hierChild3" presStyleCnt="0"/>
      <dgm:spPr/>
    </dgm:pt>
    <dgm:pt modelId="{B94CEBB8-54FD-40AA-B4AA-5CA5897C12A6}" type="pres">
      <dgm:prSet presAssocID="{B113215E-E7C4-4B49-9275-B26B4C1B0512}" presName="hierRoot1" presStyleCnt="0">
        <dgm:presLayoutVars>
          <dgm:hierBranch val="init"/>
        </dgm:presLayoutVars>
      </dgm:prSet>
      <dgm:spPr/>
    </dgm:pt>
    <dgm:pt modelId="{929EDFD4-A9E9-4795-AC19-996D0CB42296}" type="pres">
      <dgm:prSet presAssocID="{B113215E-E7C4-4B49-9275-B26B4C1B0512}" presName="rootComposite1" presStyleCnt="0"/>
      <dgm:spPr/>
    </dgm:pt>
    <dgm:pt modelId="{74BC1007-3C93-4E64-AE77-0DB155200ED4}" type="pres">
      <dgm:prSet presAssocID="{B113215E-E7C4-4B49-9275-B26B4C1B0512}" presName="rootText1" presStyleLbl="alignAcc1" presStyleIdx="0" presStyleCnt="0">
        <dgm:presLayoutVars>
          <dgm:chPref val="3"/>
        </dgm:presLayoutVars>
      </dgm:prSet>
      <dgm:spPr/>
    </dgm:pt>
    <dgm:pt modelId="{100E1FC2-D2D6-4E81-AFB2-6BD82CA202B7}" type="pres">
      <dgm:prSet presAssocID="{B113215E-E7C4-4B49-9275-B26B4C1B0512}" presName="topArc1" presStyleLbl="parChTrans1D1" presStyleIdx="2" presStyleCnt="4"/>
      <dgm:spPr/>
    </dgm:pt>
    <dgm:pt modelId="{28FF2323-7D7A-4C0D-B719-41A49B6F3C4E}" type="pres">
      <dgm:prSet presAssocID="{B113215E-E7C4-4B49-9275-B26B4C1B0512}" presName="bottomArc1" presStyleLbl="parChTrans1D1" presStyleIdx="3" presStyleCnt="4"/>
      <dgm:spPr/>
    </dgm:pt>
    <dgm:pt modelId="{584426A8-C3C0-46DF-9E83-5AF8F7D82C31}" type="pres">
      <dgm:prSet presAssocID="{B113215E-E7C4-4B49-9275-B26B4C1B0512}" presName="topConnNode1" presStyleLbl="node1" presStyleIdx="0" presStyleCnt="0"/>
      <dgm:spPr/>
    </dgm:pt>
    <dgm:pt modelId="{414AF86F-54CB-4C0B-9BC4-D6A635DE2B5C}" type="pres">
      <dgm:prSet presAssocID="{B113215E-E7C4-4B49-9275-B26B4C1B0512}" presName="hierChild2" presStyleCnt="0"/>
      <dgm:spPr/>
    </dgm:pt>
    <dgm:pt modelId="{459832B9-3BD7-489A-835D-280BC76FA8B6}" type="pres">
      <dgm:prSet presAssocID="{B113215E-E7C4-4B49-9275-B26B4C1B0512}" presName="hierChild3" presStyleCnt="0"/>
      <dgm:spPr/>
    </dgm:pt>
  </dgm:ptLst>
  <dgm:cxnLst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97ABD097-BD25-431B-BBA1-2D460D7B67FA}" type="presOf" srcId="{B113215E-E7C4-4B49-9275-B26B4C1B0512}" destId="{584426A8-C3C0-46DF-9E83-5AF8F7D82C31}" srcOrd="1" destOrd="0" presId="urn:microsoft.com/office/officeart/2008/layout/HalfCircleOrganizationChart"/>
    <dgm:cxn modelId="{E0A981B9-9B8D-4BC3-9457-44DC24D6CFA0}" srcId="{62721923-7DDD-4300-889E-6C2A9CF8CC2A}" destId="{B113215E-E7C4-4B49-9275-B26B4C1B0512}" srcOrd="1" destOrd="0" parTransId="{FD325D38-3EED-47E2-A78D-54B48A9913D6}" sibTransId="{06C3D6CB-07AC-43EE-A87B-0A3EA291E993}"/>
    <dgm:cxn modelId="{8CE7C8D8-E9F7-4947-934E-1C4C751A9A9F}" type="presOf" srcId="{5940E574-5B7E-4C98-B5BB-E46CF6DA2254}" destId="{0F9129E4-DC45-4D15-AA12-27E376B7EAB8}" srcOrd="0" destOrd="0" presId="urn:microsoft.com/office/officeart/2008/layout/HalfCircleOrganizationChart"/>
    <dgm:cxn modelId="{E3B27DF1-1C43-4E4B-A8FC-27570F662DC3}" type="presOf" srcId="{B113215E-E7C4-4B49-9275-B26B4C1B0512}" destId="{74BC1007-3C93-4E64-AE77-0DB155200ED4}" srcOrd="0" destOrd="0" presId="urn:microsoft.com/office/officeart/2008/layout/HalfCircleOrganizationChart"/>
    <dgm:cxn modelId="{8BDEFDF1-6C4F-4D3E-B9E6-16D7EC14A597}" type="presOf" srcId="{5940E574-5B7E-4C98-B5BB-E46CF6DA2254}" destId="{FFB0F309-0AEF-433F-A5D3-BD3D5B8A7EE3}" srcOrd="1" destOrd="0" presId="urn:microsoft.com/office/officeart/2008/layout/HalfCircleOrganizationChart"/>
    <dgm:cxn modelId="{74B520F2-4012-44E9-B95F-1D65FB94AA55}" srcId="{62721923-7DDD-4300-889E-6C2A9CF8CC2A}" destId="{5940E574-5B7E-4C98-B5BB-E46CF6DA2254}" srcOrd="0" destOrd="0" parTransId="{D5132850-BD46-4FBE-B672-1F034413CE24}" sibTransId="{E5F5CB62-1973-4419-9599-929974BC9A07}"/>
    <dgm:cxn modelId="{23D6D98D-AB67-482B-A119-A5B421A32449}" type="presParOf" srcId="{9510110B-FEDE-49C0-9F6F-46821DEAD42A}" destId="{6894A642-0FA8-4FCF-9ABF-9031DE93C7E7}" srcOrd="0" destOrd="0" presId="urn:microsoft.com/office/officeart/2008/layout/HalfCircleOrganizationChart"/>
    <dgm:cxn modelId="{ABBA6056-45F8-4F15-9A44-2B56F60F91A2}" type="presParOf" srcId="{6894A642-0FA8-4FCF-9ABF-9031DE93C7E7}" destId="{49BDBD5E-718E-4D0E-9A99-58C08792DDBA}" srcOrd="0" destOrd="0" presId="urn:microsoft.com/office/officeart/2008/layout/HalfCircleOrganizationChart"/>
    <dgm:cxn modelId="{58B38295-F8B1-4FEA-9E89-76B6BE68F1BC}" type="presParOf" srcId="{49BDBD5E-718E-4D0E-9A99-58C08792DDBA}" destId="{0F9129E4-DC45-4D15-AA12-27E376B7EAB8}" srcOrd="0" destOrd="0" presId="urn:microsoft.com/office/officeart/2008/layout/HalfCircleOrganizationChart"/>
    <dgm:cxn modelId="{77D19757-5307-4EF0-9986-2E2F888266F1}" type="presParOf" srcId="{49BDBD5E-718E-4D0E-9A99-58C08792DDBA}" destId="{29BDE07B-7138-4809-91D7-B2EE84BE9312}" srcOrd="1" destOrd="0" presId="urn:microsoft.com/office/officeart/2008/layout/HalfCircleOrganizationChart"/>
    <dgm:cxn modelId="{F4EBDF7E-4928-4390-9CE2-E737238E2621}" type="presParOf" srcId="{49BDBD5E-718E-4D0E-9A99-58C08792DDBA}" destId="{12B642E5-FDBC-4A7F-8826-BE1C0AE0E379}" srcOrd="2" destOrd="0" presId="urn:microsoft.com/office/officeart/2008/layout/HalfCircleOrganizationChart"/>
    <dgm:cxn modelId="{33FF558A-7976-4408-9EEA-9B909C9752C6}" type="presParOf" srcId="{49BDBD5E-718E-4D0E-9A99-58C08792DDBA}" destId="{FFB0F309-0AEF-433F-A5D3-BD3D5B8A7EE3}" srcOrd="3" destOrd="0" presId="urn:microsoft.com/office/officeart/2008/layout/HalfCircleOrganizationChart"/>
    <dgm:cxn modelId="{0DCC93CC-51A4-45F0-995F-51E4BF3481A5}" type="presParOf" srcId="{6894A642-0FA8-4FCF-9ABF-9031DE93C7E7}" destId="{1FCF01AB-FD5E-4BDE-B439-644E9691B077}" srcOrd="1" destOrd="0" presId="urn:microsoft.com/office/officeart/2008/layout/HalfCircleOrganizationChart"/>
    <dgm:cxn modelId="{27D3DB1D-5E40-429E-9875-DF58CC21C2A9}" type="presParOf" srcId="{6894A642-0FA8-4FCF-9ABF-9031DE93C7E7}" destId="{36EF7D57-196D-4481-A5E1-9BF14F865AEC}" srcOrd="2" destOrd="0" presId="urn:microsoft.com/office/officeart/2008/layout/HalfCircleOrganizationChart"/>
    <dgm:cxn modelId="{048082A5-9C2D-4224-B6F6-4D2539726FB1}" type="presParOf" srcId="{9510110B-FEDE-49C0-9F6F-46821DEAD42A}" destId="{B94CEBB8-54FD-40AA-B4AA-5CA5897C12A6}" srcOrd="1" destOrd="0" presId="urn:microsoft.com/office/officeart/2008/layout/HalfCircleOrganizationChart"/>
    <dgm:cxn modelId="{9EFB1343-0384-46EB-A0DB-7ED73B06CF94}" type="presParOf" srcId="{B94CEBB8-54FD-40AA-B4AA-5CA5897C12A6}" destId="{929EDFD4-A9E9-4795-AC19-996D0CB42296}" srcOrd="0" destOrd="0" presId="urn:microsoft.com/office/officeart/2008/layout/HalfCircleOrganizationChart"/>
    <dgm:cxn modelId="{F1BD7A6D-FA2C-4C67-9257-1F68FE033AEC}" type="presParOf" srcId="{929EDFD4-A9E9-4795-AC19-996D0CB42296}" destId="{74BC1007-3C93-4E64-AE77-0DB155200ED4}" srcOrd="0" destOrd="0" presId="urn:microsoft.com/office/officeart/2008/layout/HalfCircleOrganizationChart"/>
    <dgm:cxn modelId="{6DE05D8C-5F6A-4BAD-BD55-3853CEF4A08E}" type="presParOf" srcId="{929EDFD4-A9E9-4795-AC19-996D0CB42296}" destId="{100E1FC2-D2D6-4E81-AFB2-6BD82CA202B7}" srcOrd="1" destOrd="0" presId="urn:microsoft.com/office/officeart/2008/layout/HalfCircleOrganizationChart"/>
    <dgm:cxn modelId="{75A71EBD-5AE1-4B6E-B778-16B46D5F7417}" type="presParOf" srcId="{929EDFD4-A9E9-4795-AC19-996D0CB42296}" destId="{28FF2323-7D7A-4C0D-B719-41A49B6F3C4E}" srcOrd="2" destOrd="0" presId="urn:microsoft.com/office/officeart/2008/layout/HalfCircleOrganizationChart"/>
    <dgm:cxn modelId="{6FE935E3-F089-433A-8FBB-A605FC9D79BF}" type="presParOf" srcId="{929EDFD4-A9E9-4795-AC19-996D0CB42296}" destId="{584426A8-C3C0-46DF-9E83-5AF8F7D82C31}" srcOrd="3" destOrd="0" presId="urn:microsoft.com/office/officeart/2008/layout/HalfCircleOrganizationChart"/>
    <dgm:cxn modelId="{DB915C58-DFD7-4AC3-B7E8-FF471D920203}" type="presParOf" srcId="{B94CEBB8-54FD-40AA-B4AA-5CA5897C12A6}" destId="{414AF86F-54CB-4C0B-9BC4-D6A635DE2B5C}" srcOrd="1" destOrd="0" presId="urn:microsoft.com/office/officeart/2008/layout/HalfCircleOrganizationChart"/>
    <dgm:cxn modelId="{40E30B3E-B37B-48B4-8149-DAF999F36BC7}" type="presParOf" srcId="{B94CEBB8-54FD-40AA-B4AA-5CA5897C12A6}" destId="{459832B9-3BD7-489A-835D-280BC76FA8B6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9893B7E-8C6E-404F-ADD5-55373B1B94C6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BC07B177-5F84-4666-92BC-1639A7975B5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Centrally Funded</a:t>
          </a:r>
          <a:endParaRPr lang="en-US" dirty="0"/>
        </a:p>
      </dgm:t>
    </dgm:pt>
    <dgm:pt modelId="{2E5E0895-A2DB-4B9F-9CEE-51C31DEAB092}" type="parTrans" cxnId="{59B94516-61B3-465E-888A-F28F3B5EFC97}">
      <dgm:prSet/>
      <dgm:spPr/>
      <dgm:t>
        <a:bodyPr/>
        <a:lstStyle/>
        <a:p>
          <a:endParaRPr lang="en-US"/>
        </a:p>
      </dgm:t>
    </dgm:pt>
    <dgm:pt modelId="{FA79564E-F750-4824-8655-72E07DC1E58B}" type="sibTrans" cxnId="{59B94516-61B3-465E-888A-F28F3B5EFC97}">
      <dgm:prSet/>
      <dgm:spPr/>
      <dgm:t>
        <a:bodyPr/>
        <a:lstStyle/>
        <a:p>
          <a:endParaRPr lang="en-US"/>
        </a:p>
      </dgm:t>
    </dgm:pt>
    <dgm:pt modelId="{BE11DCDA-2DD4-43C6-BC8C-2EFC6127CD5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/>
            <a:t>Business Funded</a:t>
          </a:r>
          <a:endParaRPr lang="en-US"/>
        </a:p>
      </dgm:t>
    </dgm:pt>
    <dgm:pt modelId="{96907085-76E9-4099-BBFD-5426AF06DD8B}" type="parTrans" cxnId="{D03068EF-58AC-40E7-AF0F-A35C3326C4F7}">
      <dgm:prSet/>
      <dgm:spPr/>
      <dgm:t>
        <a:bodyPr/>
        <a:lstStyle/>
        <a:p>
          <a:endParaRPr lang="en-US"/>
        </a:p>
      </dgm:t>
    </dgm:pt>
    <dgm:pt modelId="{2DFC0F98-645F-4034-AD9B-7E6BD108D09D}" type="sibTrans" cxnId="{D03068EF-58AC-40E7-AF0F-A35C3326C4F7}">
      <dgm:prSet/>
      <dgm:spPr/>
      <dgm:t>
        <a:bodyPr/>
        <a:lstStyle/>
        <a:p>
          <a:endParaRPr lang="en-US"/>
        </a:p>
      </dgm:t>
    </dgm:pt>
    <dgm:pt modelId="{D8B7FEF1-F300-4ACF-AF79-E05D4EE6E4BB}" type="pres">
      <dgm:prSet presAssocID="{89893B7E-8C6E-404F-ADD5-55373B1B94C6}" presName="root" presStyleCnt="0">
        <dgm:presLayoutVars>
          <dgm:dir/>
          <dgm:resizeHandles val="exact"/>
        </dgm:presLayoutVars>
      </dgm:prSet>
      <dgm:spPr/>
    </dgm:pt>
    <dgm:pt modelId="{EDDF1971-B8A7-46CC-96FD-23500E362963}" type="pres">
      <dgm:prSet presAssocID="{BC07B177-5F84-4666-92BC-1639A7975B53}" presName="compNode" presStyleCnt="0"/>
      <dgm:spPr/>
    </dgm:pt>
    <dgm:pt modelId="{2E21323C-45AD-40FD-93EE-BF050C387DDB}" type="pres">
      <dgm:prSet presAssocID="{BC07B177-5F84-4666-92BC-1639A7975B53}" presName="iconRect" presStyleLbl="node1" presStyleIdx="0" presStyleCnt="2" custLinFactNeighborX="48043" custLinFactNeighborY="469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0000" b="-10000"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ilding"/>
        </a:ext>
      </dgm:extLst>
    </dgm:pt>
    <dgm:pt modelId="{D2E6221C-F64C-456A-AA0C-EC01ED5FBF35}" type="pres">
      <dgm:prSet presAssocID="{BC07B177-5F84-4666-92BC-1639A7975B53}" presName="iconSpace" presStyleCnt="0"/>
      <dgm:spPr/>
    </dgm:pt>
    <dgm:pt modelId="{5D2083E3-90ED-4570-A2F5-8BFA526453E4}" type="pres">
      <dgm:prSet presAssocID="{BC07B177-5F84-4666-92BC-1639A7975B53}" presName="parTx" presStyleLbl="revTx" presStyleIdx="0" presStyleCnt="4">
        <dgm:presLayoutVars>
          <dgm:chMax val="0"/>
          <dgm:chPref val="0"/>
        </dgm:presLayoutVars>
      </dgm:prSet>
      <dgm:spPr/>
    </dgm:pt>
    <dgm:pt modelId="{2EFC7326-8F71-4FB8-A23A-92FBA837A5CC}" type="pres">
      <dgm:prSet presAssocID="{BC07B177-5F84-4666-92BC-1639A7975B53}" presName="txSpace" presStyleCnt="0"/>
      <dgm:spPr/>
    </dgm:pt>
    <dgm:pt modelId="{B01729F6-1759-407A-8032-00613FB16AC1}" type="pres">
      <dgm:prSet presAssocID="{BC07B177-5F84-4666-92BC-1639A7975B53}" presName="desTx" presStyleLbl="revTx" presStyleIdx="1" presStyleCnt="4">
        <dgm:presLayoutVars/>
      </dgm:prSet>
      <dgm:spPr/>
    </dgm:pt>
    <dgm:pt modelId="{4B656E16-4BCB-4908-ACE3-D939AE2B2E3E}" type="pres">
      <dgm:prSet presAssocID="{FA79564E-F750-4824-8655-72E07DC1E58B}" presName="sibTrans" presStyleCnt="0"/>
      <dgm:spPr/>
    </dgm:pt>
    <dgm:pt modelId="{671BC121-A163-4248-BFC1-9CF25FCFCE8B}" type="pres">
      <dgm:prSet presAssocID="{BE11DCDA-2DD4-43C6-BC8C-2EFC6127CD59}" presName="compNode" presStyleCnt="0"/>
      <dgm:spPr/>
    </dgm:pt>
    <dgm:pt modelId="{B13B3AF4-A71A-410C-8391-BE7869ED3FDA}" type="pres">
      <dgm:prSet presAssocID="{BE11DCDA-2DD4-43C6-BC8C-2EFC6127CD59}" presName="iconRect" presStyleLbl="node1" presStyleIdx="1" presStyleCnt="2" custLinFactNeighborX="60594" custLinFactNeighborY="208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0000" b="-10000"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ity"/>
        </a:ext>
      </dgm:extLst>
    </dgm:pt>
    <dgm:pt modelId="{ADB50525-8086-4A54-9A59-24183A75A01C}" type="pres">
      <dgm:prSet presAssocID="{BE11DCDA-2DD4-43C6-BC8C-2EFC6127CD59}" presName="iconSpace" presStyleCnt="0"/>
      <dgm:spPr/>
    </dgm:pt>
    <dgm:pt modelId="{2D9A9805-FE37-4829-8C54-2BC43D2669A6}" type="pres">
      <dgm:prSet presAssocID="{BE11DCDA-2DD4-43C6-BC8C-2EFC6127CD59}" presName="parTx" presStyleLbl="revTx" presStyleIdx="2" presStyleCnt="4">
        <dgm:presLayoutVars>
          <dgm:chMax val="0"/>
          <dgm:chPref val="0"/>
        </dgm:presLayoutVars>
      </dgm:prSet>
      <dgm:spPr/>
    </dgm:pt>
    <dgm:pt modelId="{333D8372-2682-441F-87F9-37CA178ED917}" type="pres">
      <dgm:prSet presAssocID="{BE11DCDA-2DD4-43C6-BC8C-2EFC6127CD59}" presName="txSpace" presStyleCnt="0"/>
      <dgm:spPr/>
    </dgm:pt>
    <dgm:pt modelId="{E27261A6-B131-4200-968B-527C91F1837C}" type="pres">
      <dgm:prSet presAssocID="{BE11DCDA-2DD4-43C6-BC8C-2EFC6127CD59}" presName="desTx" presStyleLbl="revTx" presStyleIdx="3" presStyleCnt="4">
        <dgm:presLayoutVars/>
      </dgm:prSet>
      <dgm:spPr/>
    </dgm:pt>
  </dgm:ptLst>
  <dgm:cxnLst>
    <dgm:cxn modelId="{59B94516-61B3-465E-888A-F28F3B5EFC97}" srcId="{89893B7E-8C6E-404F-ADD5-55373B1B94C6}" destId="{BC07B177-5F84-4666-92BC-1639A7975B53}" srcOrd="0" destOrd="0" parTransId="{2E5E0895-A2DB-4B9F-9CEE-51C31DEAB092}" sibTransId="{FA79564E-F750-4824-8655-72E07DC1E58B}"/>
    <dgm:cxn modelId="{4696E66D-5341-4C89-A3A9-2FC852594067}" type="presOf" srcId="{BC07B177-5F84-4666-92BC-1639A7975B53}" destId="{5D2083E3-90ED-4570-A2F5-8BFA526453E4}" srcOrd="0" destOrd="0" presId="urn:microsoft.com/office/officeart/2018/2/layout/IconLabelDescriptionList"/>
    <dgm:cxn modelId="{766EDBE4-EEC5-41F7-BE6C-E4B4F7EB07E5}" type="presOf" srcId="{89893B7E-8C6E-404F-ADD5-55373B1B94C6}" destId="{D8B7FEF1-F300-4ACF-AF79-E05D4EE6E4BB}" srcOrd="0" destOrd="0" presId="urn:microsoft.com/office/officeart/2018/2/layout/IconLabelDescriptionList"/>
    <dgm:cxn modelId="{D03068EF-58AC-40E7-AF0F-A35C3326C4F7}" srcId="{89893B7E-8C6E-404F-ADD5-55373B1B94C6}" destId="{BE11DCDA-2DD4-43C6-BC8C-2EFC6127CD59}" srcOrd="1" destOrd="0" parTransId="{96907085-76E9-4099-BBFD-5426AF06DD8B}" sibTransId="{2DFC0F98-645F-4034-AD9B-7E6BD108D09D}"/>
    <dgm:cxn modelId="{E5EE9DF0-0552-4E43-9DCA-51F847456B99}" type="presOf" srcId="{BE11DCDA-2DD4-43C6-BC8C-2EFC6127CD59}" destId="{2D9A9805-FE37-4829-8C54-2BC43D2669A6}" srcOrd="0" destOrd="0" presId="urn:microsoft.com/office/officeart/2018/2/layout/IconLabelDescriptionList"/>
    <dgm:cxn modelId="{5A521D21-D10F-42C0-9B6B-3C0929DFFAF3}" type="presParOf" srcId="{D8B7FEF1-F300-4ACF-AF79-E05D4EE6E4BB}" destId="{EDDF1971-B8A7-46CC-96FD-23500E362963}" srcOrd="0" destOrd="0" presId="urn:microsoft.com/office/officeart/2018/2/layout/IconLabelDescriptionList"/>
    <dgm:cxn modelId="{6787ADD1-BCDE-4624-8783-C501B20924A1}" type="presParOf" srcId="{EDDF1971-B8A7-46CC-96FD-23500E362963}" destId="{2E21323C-45AD-40FD-93EE-BF050C387DDB}" srcOrd="0" destOrd="0" presId="urn:microsoft.com/office/officeart/2018/2/layout/IconLabelDescriptionList"/>
    <dgm:cxn modelId="{ACFEDE7E-860B-4975-9763-2323B33056D2}" type="presParOf" srcId="{EDDF1971-B8A7-46CC-96FD-23500E362963}" destId="{D2E6221C-F64C-456A-AA0C-EC01ED5FBF35}" srcOrd="1" destOrd="0" presId="urn:microsoft.com/office/officeart/2018/2/layout/IconLabelDescriptionList"/>
    <dgm:cxn modelId="{031AB881-B0BF-4078-A8F5-660C9E7AAF40}" type="presParOf" srcId="{EDDF1971-B8A7-46CC-96FD-23500E362963}" destId="{5D2083E3-90ED-4570-A2F5-8BFA526453E4}" srcOrd="2" destOrd="0" presId="urn:microsoft.com/office/officeart/2018/2/layout/IconLabelDescriptionList"/>
    <dgm:cxn modelId="{5CDA69C0-D147-4C53-A5DA-E2A2E413BF3A}" type="presParOf" srcId="{EDDF1971-B8A7-46CC-96FD-23500E362963}" destId="{2EFC7326-8F71-4FB8-A23A-92FBA837A5CC}" srcOrd="3" destOrd="0" presId="urn:microsoft.com/office/officeart/2018/2/layout/IconLabelDescriptionList"/>
    <dgm:cxn modelId="{FB7A301B-EE38-4587-B0C4-B47662B16F51}" type="presParOf" srcId="{EDDF1971-B8A7-46CC-96FD-23500E362963}" destId="{B01729F6-1759-407A-8032-00613FB16AC1}" srcOrd="4" destOrd="0" presId="urn:microsoft.com/office/officeart/2018/2/layout/IconLabelDescriptionList"/>
    <dgm:cxn modelId="{24D004ED-F156-4951-B78A-AB206C5D3368}" type="presParOf" srcId="{D8B7FEF1-F300-4ACF-AF79-E05D4EE6E4BB}" destId="{4B656E16-4BCB-4908-ACE3-D939AE2B2E3E}" srcOrd="1" destOrd="0" presId="urn:microsoft.com/office/officeart/2018/2/layout/IconLabelDescriptionList"/>
    <dgm:cxn modelId="{CAAEC555-EE48-4EB9-9391-E65694A062B3}" type="presParOf" srcId="{D8B7FEF1-F300-4ACF-AF79-E05D4EE6E4BB}" destId="{671BC121-A163-4248-BFC1-9CF25FCFCE8B}" srcOrd="2" destOrd="0" presId="urn:microsoft.com/office/officeart/2018/2/layout/IconLabelDescriptionList"/>
    <dgm:cxn modelId="{B6705C45-18D6-4E22-9315-EE64E310F92A}" type="presParOf" srcId="{671BC121-A163-4248-BFC1-9CF25FCFCE8B}" destId="{B13B3AF4-A71A-410C-8391-BE7869ED3FDA}" srcOrd="0" destOrd="0" presId="urn:microsoft.com/office/officeart/2018/2/layout/IconLabelDescriptionList"/>
    <dgm:cxn modelId="{9CA3A059-08E1-49FC-BDC5-89DF406BC8D0}" type="presParOf" srcId="{671BC121-A163-4248-BFC1-9CF25FCFCE8B}" destId="{ADB50525-8086-4A54-9A59-24183A75A01C}" srcOrd="1" destOrd="0" presId="urn:microsoft.com/office/officeart/2018/2/layout/IconLabelDescriptionList"/>
    <dgm:cxn modelId="{F2998A48-84BD-4427-883E-A4A2771746DB}" type="presParOf" srcId="{671BC121-A163-4248-BFC1-9CF25FCFCE8B}" destId="{2D9A9805-FE37-4829-8C54-2BC43D2669A6}" srcOrd="2" destOrd="0" presId="urn:microsoft.com/office/officeart/2018/2/layout/IconLabelDescriptionList"/>
    <dgm:cxn modelId="{A2413FDA-22C9-47CF-8749-EA5A7EE4438E}" type="presParOf" srcId="{671BC121-A163-4248-BFC1-9CF25FCFCE8B}" destId="{333D8372-2682-441F-87F9-37CA178ED917}" srcOrd="3" destOrd="0" presId="urn:microsoft.com/office/officeart/2018/2/layout/IconLabelDescriptionList"/>
    <dgm:cxn modelId="{F379444A-F632-43CD-B245-FF6252D163F2}" type="presParOf" srcId="{671BC121-A163-4248-BFC1-9CF25FCFCE8B}" destId="{E27261A6-B131-4200-968B-527C91F1837C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60449F7-7D3A-4340-8264-322BD3A20AB9}" type="doc">
      <dgm:prSet loTypeId="urn:microsoft.com/office/officeart/2016/7/layout/VerticalSolidAction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5AB223E-4953-4EF2-BA3C-ECDF95A84747}">
      <dgm:prSet custT="1"/>
      <dgm:spPr/>
      <dgm:t>
        <a:bodyPr/>
        <a:lstStyle/>
        <a:p>
          <a:r>
            <a:rPr lang="en-GB" sz="2400" baseline="0" dirty="0"/>
            <a:t>Sponsorship</a:t>
          </a:r>
          <a:endParaRPr lang="en-US" sz="2400" dirty="0"/>
        </a:p>
      </dgm:t>
    </dgm:pt>
    <dgm:pt modelId="{296171BF-63AB-4CB5-A379-F0CA2FCF7867}" type="parTrans" cxnId="{B25C3080-06BE-4AAF-8319-6AD828390854}">
      <dgm:prSet/>
      <dgm:spPr/>
      <dgm:t>
        <a:bodyPr/>
        <a:lstStyle/>
        <a:p>
          <a:endParaRPr lang="en-GB"/>
        </a:p>
      </dgm:t>
    </dgm:pt>
    <dgm:pt modelId="{7EE13155-3E37-4797-9EAD-C79787B72C15}" type="sibTrans" cxnId="{B25C3080-06BE-4AAF-8319-6AD828390854}">
      <dgm:prSet/>
      <dgm:spPr/>
      <dgm:t>
        <a:bodyPr/>
        <a:lstStyle/>
        <a:p>
          <a:endParaRPr lang="en-GB"/>
        </a:p>
      </dgm:t>
    </dgm:pt>
    <dgm:pt modelId="{BE34E47C-6060-4274-986C-67357D018149}">
      <dgm:prSet custT="1"/>
      <dgm:spPr/>
      <dgm:t>
        <a:bodyPr/>
        <a:lstStyle/>
        <a:p>
          <a:r>
            <a:rPr lang="en-GB" sz="2400" baseline="0" dirty="0"/>
            <a:t>Obtaining executive sponsorship and communicating it</a:t>
          </a:r>
          <a:endParaRPr lang="en-GB" sz="2400" dirty="0"/>
        </a:p>
      </dgm:t>
    </dgm:pt>
    <dgm:pt modelId="{018AD169-DE07-4A5B-882B-BC2026988FE4}" type="parTrans" cxnId="{AA83980D-7929-4784-A403-F646F5807D98}">
      <dgm:prSet/>
      <dgm:spPr/>
      <dgm:t>
        <a:bodyPr/>
        <a:lstStyle/>
        <a:p>
          <a:endParaRPr lang="en-GB"/>
        </a:p>
      </dgm:t>
    </dgm:pt>
    <dgm:pt modelId="{4B3DAE26-4E7E-4D9E-B8CA-B93B83A51D45}" type="sibTrans" cxnId="{AA83980D-7929-4784-A403-F646F5807D98}">
      <dgm:prSet/>
      <dgm:spPr/>
      <dgm:t>
        <a:bodyPr/>
        <a:lstStyle/>
        <a:p>
          <a:endParaRPr lang="en-GB"/>
        </a:p>
      </dgm:t>
    </dgm:pt>
    <dgm:pt modelId="{01EA6AB6-5250-44BC-BC04-B4260A9A3875}">
      <dgm:prSet custT="1"/>
      <dgm:spPr/>
      <dgm:t>
        <a:bodyPr/>
        <a:lstStyle/>
        <a:p>
          <a:r>
            <a:rPr lang="en-GB" sz="2400" baseline="0" dirty="0"/>
            <a:t>Goals</a:t>
          </a:r>
          <a:endParaRPr lang="en-GB" sz="2400" dirty="0"/>
        </a:p>
      </dgm:t>
    </dgm:pt>
    <dgm:pt modelId="{3C7DD0C6-7E22-4990-8E11-4532543DD515}" type="parTrans" cxnId="{D1D82D82-A636-40FE-9D85-911DF281D4D2}">
      <dgm:prSet/>
      <dgm:spPr/>
      <dgm:t>
        <a:bodyPr/>
        <a:lstStyle/>
        <a:p>
          <a:endParaRPr lang="en-GB"/>
        </a:p>
      </dgm:t>
    </dgm:pt>
    <dgm:pt modelId="{806D6171-0021-4B4B-8C56-9CF602870F87}" type="sibTrans" cxnId="{D1D82D82-A636-40FE-9D85-911DF281D4D2}">
      <dgm:prSet/>
      <dgm:spPr/>
      <dgm:t>
        <a:bodyPr/>
        <a:lstStyle/>
        <a:p>
          <a:endParaRPr lang="en-GB"/>
        </a:p>
      </dgm:t>
    </dgm:pt>
    <dgm:pt modelId="{27E1DA6A-20CF-468E-9419-C6B1B9048898}">
      <dgm:prSet custT="1"/>
      <dgm:spPr/>
      <dgm:t>
        <a:bodyPr/>
        <a:lstStyle/>
        <a:p>
          <a:r>
            <a:rPr lang="en-GB" sz="2400" baseline="0" dirty="0"/>
            <a:t>Aligning program goals to corporate goals</a:t>
          </a:r>
          <a:endParaRPr lang="en-GB" sz="2400" dirty="0"/>
        </a:p>
      </dgm:t>
    </dgm:pt>
    <dgm:pt modelId="{6F75CDB9-2F7C-48A1-B4A8-D796BEB2B850}" type="parTrans" cxnId="{8B4F7ED6-25AC-47ED-8D44-D79A5F11317A}">
      <dgm:prSet/>
      <dgm:spPr/>
      <dgm:t>
        <a:bodyPr/>
        <a:lstStyle/>
        <a:p>
          <a:endParaRPr lang="en-GB"/>
        </a:p>
      </dgm:t>
    </dgm:pt>
    <dgm:pt modelId="{98B6C0F6-30AC-4EE0-A9F7-5DD677A40440}" type="sibTrans" cxnId="{8B4F7ED6-25AC-47ED-8D44-D79A5F11317A}">
      <dgm:prSet/>
      <dgm:spPr/>
      <dgm:t>
        <a:bodyPr/>
        <a:lstStyle/>
        <a:p>
          <a:endParaRPr lang="en-GB"/>
        </a:p>
      </dgm:t>
    </dgm:pt>
    <dgm:pt modelId="{ECAEBCD6-AEEB-4B53-8621-823D56BB9E20}">
      <dgm:prSet custT="1"/>
      <dgm:spPr/>
      <dgm:t>
        <a:bodyPr/>
        <a:lstStyle/>
        <a:p>
          <a:r>
            <a:rPr lang="en-GB" sz="2400" baseline="0" dirty="0"/>
            <a:t>Planning</a:t>
          </a:r>
          <a:endParaRPr lang="en-GB" sz="2400" dirty="0"/>
        </a:p>
      </dgm:t>
    </dgm:pt>
    <dgm:pt modelId="{34287002-B584-46F7-8F5C-65912A9A1659}" type="parTrans" cxnId="{1A2E9D84-F680-4C41-9956-681B23660880}">
      <dgm:prSet/>
      <dgm:spPr/>
      <dgm:t>
        <a:bodyPr/>
        <a:lstStyle/>
        <a:p>
          <a:endParaRPr lang="en-GB"/>
        </a:p>
      </dgm:t>
    </dgm:pt>
    <dgm:pt modelId="{FB3EA9F9-C32B-44F8-919C-17BBDACDBE54}" type="sibTrans" cxnId="{1A2E9D84-F680-4C41-9956-681B23660880}">
      <dgm:prSet/>
      <dgm:spPr/>
      <dgm:t>
        <a:bodyPr/>
        <a:lstStyle/>
        <a:p>
          <a:endParaRPr lang="en-GB"/>
        </a:p>
      </dgm:t>
    </dgm:pt>
    <dgm:pt modelId="{488CCC71-3764-46FC-ACAF-C81F199F0C59}">
      <dgm:prSet custT="1"/>
      <dgm:spPr/>
      <dgm:t>
        <a:bodyPr/>
        <a:lstStyle/>
        <a:p>
          <a:r>
            <a:rPr lang="en-GB" sz="2400" baseline="0" dirty="0"/>
            <a:t>Planning strategy and execution, and measuring the program</a:t>
          </a:r>
          <a:endParaRPr lang="en-GB" sz="2400" dirty="0"/>
        </a:p>
      </dgm:t>
    </dgm:pt>
    <dgm:pt modelId="{DF9BA70D-C147-4FB5-ADEE-683DBCC027FD}" type="parTrans" cxnId="{542BC77B-49E6-4DC4-8FDD-E1CD7ADDD95C}">
      <dgm:prSet/>
      <dgm:spPr/>
      <dgm:t>
        <a:bodyPr/>
        <a:lstStyle/>
        <a:p>
          <a:endParaRPr lang="en-GB"/>
        </a:p>
      </dgm:t>
    </dgm:pt>
    <dgm:pt modelId="{98EA8AAD-FAB9-409D-ACC1-28505239E082}" type="sibTrans" cxnId="{542BC77B-49E6-4DC4-8FDD-E1CD7ADDD95C}">
      <dgm:prSet/>
      <dgm:spPr/>
      <dgm:t>
        <a:bodyPr/>
        <a:lstStyle/>
        <a:p>
          <a:endParaRPr lang="en-GB"/>
        </a:p>
      </dgm:t>
    </dgm:pt>
    <dgm:pt modelId="{106BB47F-E344-419C-9610-A22E2E783E6F}" type="pres">
      <dgm:prSet presAssocID="{460449F7-7D3A-4340-8264-322BD3A20AB9}" presName="Name0" presStyleCnt="0">
        <dgm:presLayoutVars>
          <dgm:dir/>
          <dgm:animLvl val="lvl"/>
          <dgm:resizeHandles val="exact"/>
        </dgm:presLayoutVars>
      </dgm:prSet>
      <dgm:spPr/>
    </dgm:pt>
    <dgm:pt modelId="{44AFF348-DE45-406E-BA6A-B5B188C14043}" type="pres">
      <dgm:prSet presAssocID="{25AB223E-4953-4EF2-BA3C-ECDF95A84747}" presName="linNode" presStyleCnt="0"/>
      <dgm:spPr/>
    </dgm:pt>
    <dgm:pt modelId="{E9F836B8-166B-45D6-9F84-CEA44AD858A3}" type="pres">
      <dgm:prSet presAssocID="{25AB223E-4953-4EF2-BA3C-ECDF95A84747}" presName="parentText" presStyleLbl="alignNode1" presStyleIdx="0" presStyleCnt="3">
        <dgm:presLayoutVars>
          <dgm:chMax val="1"/>
          <dgm:bulletEnabled/>
        </dgm:presLayoutVars>
      </dgm:prSet>
      <dgm:spPr/>
    </dgm:pt>
    <dgm:pt modelId="{1D316B12-8CDF-4966-8386-A25B656CCFCB}" type="pres">
      <dgm:prSet presAssocID="{25AB223E-4953-4EF2-BA3C-ECDF95A84747}" presName="descendantText" presStyleLbl="alignAccFollowNode1" presStyleIdx="0" presStyleCnt="3" custLinFactNeighborX="78666" custLinFactNeighborY="-24046">
        <dgm:presLayoutVars>
          <dgm:bulletEnabled/>
        </dgm:presLayoutVars>
      </dgm:prSet>
      <dgm:spPr/>
    </dgm:pt>
    <dgm:pt modelId="{8A7562F0-2417-4F92-9EE3-D0DC46131D5B}" type="pres">
      <dgm:prSet presAssocID="{7EE13155-3E37-4797-9EAD-C79787B72C15}" presName="sp" presStyleCnt="0"/>
      <dgm:spPr/>
    </dgm:pt>
    <dgm:pt modelId="{AE114327-D549-4E1F-9370-EDEB17200B19}" type="pres">
      <dgm:prSet presAssocID="{01EA6AB6-5250-44BC-BC04-B4260A9A3875}" presName="linNode" presStyleCnt="0"/>
      <dgm:spPr/>
    </dgm:pt>
    <dgm:pt modelId="{16443801-5F57-4607-8761-13ED407B51E9}" type="pres">
      <dgm:prSet presAssocID="{01EA6AB6-5250-44BC-BC04-B4260A9A3875}" presName="parentText" presStyleLbl="alignNode1" presStyleIdx="1" presStyleCnt="3">
        <dgm:presLayoutVars>
          <dgm:chMax val="1"/>
          <dgm:bulletEnabled/>
        </dgm:presLayoutVars>
      </dgm:prSet>
      <dgm:spPr/>
    </dgm:pt>
    <dgm:pt modelId="{2114C062-4588-40FE-96A8-5F5F1E9EA85C}" type="pres">
      <dgm:prSet presAssocID="{01EA6AB6-5250-44BC-BC04-B4260A9A3875}" presName="descendantText" presStyleLbl="alignAccFollowNode1" presStyleIdx="1" presStyleCnt="3">
        <dgm:presLayoutVars>
          <dgm:bulletEnabled/>
        </dgm:presLayoutVars>
      </dgm:prSet>
      <dgm:spPr/>
    </dgm:pt>
    <dgm:pt modelId="{B68BB3C4-0923-42D8-86DC-DA55DE825E7F}" type="pres">
      <dgm:prSet presAssocID="{806D6171-0021-4B4B-8C56-9CF602870F87}" presName="sp" presStyleCnt="0"/>
      <dgm:spPr/>
    </dgm:pt>
    <dgm:pt modelId="{14D239BE-A634-42C8-980A-00642B56EA53}" type="pres">
      <dgm:prSet presAssocID="{ECAEBCD6-AEEB-4B53-8621-823D56BB9E20}" presName="linNode" presStyleCnt="0"/>
      <dgm:spPr/>
    </dgm:pt>
    <dgm:pt modelId="{59E90048-F00B-4299-A3BE-EA32C92CD91A}" type="pres">
      <dgm:prSet presAssocID="{ECAEBCD6-AEEB-4B53-8621-823D56BB9E20}" presName="parentText" presStyleLbl="alignNode1" presStyleIdx="2" presStyleCnt="3">
        <dgm:presLayoutVars>
          <dgm:chMax val="1"/>
          <dgm:bulletEnabled/>
        </dgm:presLayoutVars>
      </dgm:prSet>
      <dgm:spPr/>
    </dgm:pt>
    <dgm:pt modelId="{5E408A61-7D69-4156-A89B-5845F220B35C}" type="pres">
      <dgm:prSet presAssocID="{ECAEBCD6-AEEB-4B53-8621-823D56BB9E20}" presName="descendantText" presStyleLbl="alignAccFollowNode1" presStyleIdx="2" presStyleCnt="3">
        <dgm:presLayoutVars>
          <dgm:bulletEnabled/>
        </dgm:presLayoutVars>
      </dgm:prSet>
      <dgm:spPr/>
    </dgm:pt>
  </dgm:ptLst>
  <dgm:cxnLst>
    <dgm:cxn modelId="{AA83980D-7929-4784-A403-F646F5807D98}" srcId="{25AB223E-4953-4EF2-BA3C-ECDF95A84747}" destId="{BE34E47C-6060-4274-986C-67357D018149}" srcOrd="0" destOrd="0" parTransId="{018AD169-DE07-4A5B-882B-BC2026988FE4}" sibTransId="{4B3DAE26-4E7E-4D9E-B8CA-B93B83A51D45}"/>
    <dgm:cxn modelId="{75829915-F8A4-4D21-A5ED-FF6CE6BCAFB4}" type="presOf" srcId="{25AB223E-4953-4EF2-BA3C-ECDF95A84747}" destId="{E9F836B8-166B-45D6-9F84-CEA44AD858A3}" srcOrd="0" destOrd="0" presId="urn:microsoft.com/office/officeart/2016/7/layout/VerticalSolidActionList"/>
    <dgm:cxn modelId="{CD39FF34-16B5-45BE-B483-A0B915DC180A}" type="presOf" srcId="{488CCC71-3764-46FC-ACAF-C81F199F0C59}" destId="{5E408A61-7D69-4156-A89B-5845F220B35C}" srcOrd="0" destOrd="0" presId="urn:microsoft.com/office/officeart/2016/7/layout/VerticalSolidActionList"/>
    <dgm:cxn modelId="{16A9A549-BD26-4328-8552-8B351E3562EB}" type="presOf" srcId="{01EA6AB6-5250-44BC-BC04-B4260A9A3875}" destId="{16443801-5F57-4607-8761-13ED407B51E9}" srcOrd="0" destOrd="0" presId="urn:microsoft.com/office/officeart/2016/7/layout/VerticalSolidActionList"/>
    <dgm:cxn modelId="{2496FD6B-9D88-4D1A-9B84-F563822B1CF5}" type="presOf" srcId="{460449F7-7D3A-4340-8264-322BD3A20AB9}" destId="{106BB47F-E344-419C-9610-A22E2E783E6F}" srcOrd="0" destOrd="0" presId="urn:microsoft.com/office/officeart/2016/7/layout/VerticalSolidActionList"/>
    <dgm:cxn modelId="{81B3AF53-98A4-42C0-B471-8DF242DAA75F}" type="presOf" srcId="{27E1DA6A-20CF-468E-9419-C6B1B9048898}" destId="{2114C062-4588-40FE-96A8-5F5F1E9EA85C}" srcOrd="0" destOrd="0" presId="urn:microsoft.com/office/officeart/2016/7/layout/VerticalSolidActionList"/>
    <dgm:cxn modelId="{542BC77B-49E6-4DC4-8FDD-E1CD7ADDD95C}" srcId="{ECAEBCD6-AEEB-4B53-8621-823D56BB9E20}" destId="{488CCC71-3764-46FC-ACAF-C81F199F0C59}" srcOrd="0" destOrd="0" parTransId="{DF9BA70D-C147-4FB5-ADEE-683DBCC027FD}" sibTransId="{98EA8AAD-FAB9-409D-ACC1-28505239E082}"/>
    <dgm:cxn modelId="{B25C3080-06BE-4AAF-8319-6AD828390854}" srcId="{460449F7-7D3A-4340-8264-322BD3A20AB9}" destId="{25AB223E-4953-4EF2-BA3C-ECDF95A84747}" srcOrd="0" destOrd="0" parTransId="{296171BF-63AB-4CB5-A379-F0CA2FCF7867}" sibTransId="{7EE13155-3E37-4797-9EAD-C79787B72C15}"/>
    <dgm:cxn modelId="{D1D82D82-A636-40FE-9D85-911DF281D4D2}" srcId="{460449F7-7D3A-4340-8264-322BD3A20AB9}" destId="{01EA6AB6-5250-44BC-BC04-B4260A9A3875}" srcOrd="1" destOrd="0" parTransId="{3C7DD0C6-7E22-4990-8E11-4532543DD515}" sibTransId="{806D6171-0021-4B4B-8C56-9CF602870F87}"/>
    <dgm:cxn modelId="{1A2E9D84-F680-4C41-9956-681B23660880}" srcId="{460449F7-7D3A-4340-8264-322BD3A20AB9}" destId="{ECAEBCD6-AEEB-4B53-8621-823D56BB9E20}" srcOrd="2" destOrd="0" parTransId="{34287002-B584-46F7-8F5C-65912A9A1659}" sibTransId="{FB3EA9F9-C32B-44F8-919C-17BBDACDBE54}"/>
    <dgm:cxn modelId="{C2CEF194-2246-48A2-97BF-7148AF1264ED}" type="presOf" srcId="{ECAEBCD6-AEEB-4B53-8621-823D56BB9E20}" destId="{59E90048-F00B-4299-A3BE-EA32C92CD91A}" srcOrd="0" destOrd="0" presId="urn:microsoft.com/office/officeart/2016/7/layout/VerticalSolidActionList"/>
    <dgm:cxn modelId="{82BDACB6-FC8F-4CF6-B743-BDD11B9623B8}" type="presOf" srcId="{BE34E47C-6060-4274-986C-67357D018149}" destId="{1D316B12-8CDF-4966-8386-A25B656CCFCB}" srcOrd="0" destOrd="0" presId="urn:microsoft.com/office/officeart/2016/7/layout/VerticalSolidActionList"/>
    <dgm:cxn modelId="{8B4F7ED6-25AC-47ED-8D44-D79A5F11317A}" srcId="{01EA6AB6-5250-44BC-BC04-B4260A9A3875}" destId="{27E1DA6A-20CF-468E-9419-C6B1B9048898}" srcOrd="0" destOrd="0" parTransId="{6F75CDB9-2F7C-48A1-B4A8-D796BEB2B850}" sibTransId="{98B6C0F6-30AC-4EE0-A9F7-5DD677A40440}"/>
    <dgm:cxn modelId="{F63E076E-D14E-4D27-9014-9AEE99F5CBDD}" type="presParOf" srcId="{106BB47F-E344-419C-9610-A22E2E783E6F}" destId="{44AFF348-DE45-406E-BA6A-B5B188C14043}" srcOrd="0" destOrd="0" presId="urn:microsoft.com/office/officeart/2016/7/layout/VerticalSolidActionList"/>
    <dgm:cxn modelId="{62718B49-FCD6-4F00-971B-C907B0294D0D}" type="presParOf" srcId="{44AFF348-DE45-406E-BA6A-B5B188C14043}" destId="{E9F836B8-166B-45D6-9F84-CEA44AD858A3}" srcOrd="0" destOrd="0" presId="urn:microsoft.com/office/officeart/2016/7/layout/VerticalSolidActionList"/>
    <dgm:cxn modelId="{25A9C8D6-0DB1-4D99-9BA7-B7B3F92B801C}" type="presParOf" srcId="{44AFF348-DE45-406E-BA6A-B5B188C14043}" destId="{1D316B12-8CDF-4966-8386-A25B656CCFCB}" srcOrd="1" destOrd="0" presId="urn:microsoft.com/office/officeart/2016/7/layout/VerticalSolidActionList"/>
    <dgm:cxn modelId="{8AB347FF-2620-48A8-9545-D5E1AC548144}" type="presParOf" srcId="{106BB47F-E344-419C-9610-A22E2E783E6F}" destId="{8A7562F0-2417-4F92-9EE3-D0DC46131D5B}" srcOrd="1" destOrd="0" presId="urn:microsoft.com/office/officeart/2016/7/layout/VerticalSolidActionList"/>
    <dgm:cxn modelId="{26BBD07B-DBE0-4A60-82C2-1DFA78BDD5E0}" type="presParOf" srcId="{106BB47F-E344-419C-9610-A22E2E783E6F}" destId="{AE114327-D549-4E1F-9370-EDEB17200B19}" srcOrd="2" destOrd="0" presId="urn:microsoft.com/office/officeart/2016/7/layout/VerticalSolidActionList"/>
    <dgm:cxn modelId="{4089669E-BFED-41D7-BD7F-0C1A06053928}" type="presParOf" srcId="{AE114327-D549-4E1F-9370-EDEB17200B19}" destId="{16443801-5F57-4607-8761-13ED407B51E9}" srcOrd="0" destOrd="0" presId="urn:microsoft.com/office/officeart/2016/7/layout/VerticalSolidActionList"/>
    <dgm:cxn modelId="{CA87F4AB-EBC2-4F8A-84C2-4551E7E90284}" type="presParOf" srcId="{AE114327-D549-4E1F-9370-EDEB17200B19}" destId="{2114C062-4588-40FE-96A8-5F5F1E9EA85C}" srcOrd="1" destOrd="0" presId="urn:microsoft.com/office/officeart/2016/7/layout/VerticalSolidActionList"/>
    <dgm:cxn modelId="{93E02C5D-BE01-46F9-9353-C50ADBD0907F}" type="presParOf" srcId="{106BB47F-E344-419C-9610-A22E2E783E6F}" destId="{B68BB3C4-0923-42D8-86DC-DA55DE825E7F}" srcOrd="3" destOrd="0" presId="urn:microsoft.com/office/officeart/2016/7/layout/VerticalSolidActionList"/>
    <dgm:cxn modelId="{81BB795B-BE0D-4585-ABDA-5F1C6B41C44E}" type="presParOf" srcId="{106BB47F-E344-419C-9610-A22E2E783E6F}" destId="{14D239BE-A634-42C8-980A-00642B56EA53}" srcOrd="4" destOrd="0" presId="urn:microsoft.com/office/officeart/2016/7/layout/VerticalSolidActionList"/>
    <dgm:cxn modelId="{962FC769-238B-40C9-8A6D-C19192BCC2EC}" type="presParOf" srcId="{14D239BE-A634-42C8-980A-00642B56EA53}" destId="{59E90048-F00B-4299-A3BE-EA32C92CD91A}" srcOrd="0" destOrd="0" presId="urn:microsoft.com/office/officeart/2016/7/layout/VerticalSolidActionList"/>
    <dgm:cxn modelId="{41F2221C-6BCC-455A-8EE5-EAF5638CE730}" type="presParOf" srcId="{14D239BE-A634-42C8-980A-00642B56EA53}" destId="{5E408A61-7D69-4156-A89B-5845F220B35C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316B12-8CDF-4966-8386-A25B656CCFCB}">
      <dsp:nvSpPr>
        <dsp:cNvPr id="0" name=""/>
        <dsp:cNvSpPr/>
      </dsp:nvSpPr>
      <dsp:spPr>
        <a:xfrm>
          <a:off x="1963618" y="0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Structured approach gives confidence </a:t>
          </a:r>
          <a:endParaRPr lang="en-US" sz="2400" kern="1200" dirty="0">
            <a:solidFill>
              <a:schemeClr val="tx2"/>
            </a:solidFill>
          </a:endParaRPr>
        </a:p>
      </dsp:txBody>
      <dsp:txXfrm>
        <a:off x="1963618" y="0"/>
        <a:ext cx="7854474" cy="1440619"/>
      </dsp:txXfrm>
    </dsp:sp>
    <dsp:sp modelId="{E9F836B8-166B-45D6-9F84-CEA44AD858A3}">
      <dsp:nvSpPr>
        <dsp:cNvPr id="0" name=""/>
        <dsp:cNvSpPr/>
      </dsp:nvSpPr>
      <dsp:spPr>
        <a:xfrm>
          <a:off x="0" y="1405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Structure</a:t>
          </a:r>
          <a:endParaRPr lang="en-US" sz="2400" kern="1200" dirty="0"/>
        </a:p>
      </dsp:txBody>
      <dsp:txXfrm>
        <a:off x="0" y="1405"/>
        <a:ext cx="1963618" cy="1440619"/>
      </dsp:txXfrm>
    </dsp:sp>
    <dsp:sp modelId="{875AB7FF-ADF3-4742-9CB9-E84F789DC389}">
      <dsp:nvSpPr>
        <dsp:cNvPr id="0" name=""/>
        <dsp:cNvSpPr/>
      </dsp:nvSpPr>
      <dsp:spPr>
        <a:xfrm>
          <a:off x="1963618" y="1528462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Prepares for challenges</a:t>
          </a:r>
        </a:p>
      </dsp:txBody>
      <dsp:txXfrm>
        <a:off x="1963618" y="1528462"/>
        <a:ext cx="7854474" cy="1440619"/>
      </dsp:txXfrm>
    </dsp:sp>
    <dsp:sp modelId="{0FF1DA46-AF1D-4D22-B9CC-6C2190A5D711}">
      <dsp:nvSpPr>
        <dsp:cNvPr id="0" name=""/>
        <dsp:cNvSpPr/>
      </dsp:nvSpPr>
      <dsp:spPr>
        <a:xfrm>
          <a:off x="0" y="1528462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Readiness</a:t>
          </a:r>
        </a:p>
      </dsp:txBody>
      <dsp:txXfrm>
        <a:off x="0" y="1528462"/>
        <a:ext cx="1963618" cy="1440619"/>
      </dsp:txXfrm>
    </dsp:sp>
    <dsp:sp modelId="{9E123CF5-A7F8-4951-AEBF-F17A816F9404}">
      <dsp:nvSpPr>
        <dsp:cNvPr id="0" name=""/>
        <dsp:cNvSpPr/>
      </dsp:nvSpPr>
      <dsp:spPr>
        <a:xfrm>
          <a:off x="1963618" y="3055519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Learn to fish </a:t>
          </a:r>
        </a:p>
      </dsp:txBody>
      <dsp:txXfrm>
        <a:off x="1963618" y="3055519"/>
        <a:ext cx="7854474" cy="1440619"/>
      </dsp:txXfrm>
    </dsp:sp>
    <dsp:sp modelId="{5FA7DB8B-597A-4003-A78F-BE5DFAC45AE0}">
      <dsp:nvSpPr>
        <dsp:cNvPr id="0" name=""/>
        <dsp:cNvSpPr/>
      </dsp:nvSpPr>
      <dsp:spPr>
        <a:xfrm>
          <a:off x="0" y="3055519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Learn</a:t>
          </a:r>
        </a:p>
      </dsp:txBody>
      <dsp:txXfrm>
        <a:off x="0" y="3055519"/>
        <a:ext cx="1963618" cy="14406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960692-88E2-4F1E-8B0D-E3245F812F1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42A3F-CD30-4862-9676-1B5A1DE169E6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E96E92-FF1B-4AB0-B443-65D128C9DCE1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Feasible and impactful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411449" y="441643"/>
        <a:ext cx="4899986" cy="1567995"/>
      </dsp:txXfrm>
    </dsp:sp>
    <dsp:sp modelId="{EFBCECC8-CA55-4092-A1A4-48009678FB80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F042FE-5A8E-4D45-8938-06486985E68B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CD67E7-208D-46C4-AF0E-E35A6F865705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Permission/approvals</a:t>
          </a:r>
        </a:p>
      </dsp:txBody>
      <dsp:txXfrm>
        <a:off x="6340433" y="441643"/>
        <a:ext cx="4899986" cy="15679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634C02-4855-4AD1-AAD1-1EA3418B8F0E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FDE28F-AC5D-4145-AA52-F41BF12E4EFA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D3068B-D09B-4BE0-A02D-392F4ED9D523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Non-sensitive data</a:t>
          </a:r>
        </a:p>
      </dsp:txBody>
      <dsp:txXfrm>
        <a:off x="411449" y="441643"/>
        <a:ext cx="4899986" cy="1567995"/>
      </dsp:txXfrm>
    </dsp:sp>
    <dsp:sp modelId="{4364D7B0-DF44-4ED5-9346-488877CA773E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209DBE-9E58-4C16-AF70-D35331A374CB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5FE2AA-9340-4FF3-BB8B-A844B89298FD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Business shadowing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6340433" y="441643"/>
        <a:ext cx="4899986" cy="15679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960692-88E2-4F1E-8B0D-E3245F812F1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42A3F-CD30-4862-9676-1B5A1DE169E6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E96E92-FF1B-4AB0-B443-65D128C9DCE1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Involve IT, Business &amp; Security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411449" y="441643"/>
        <a:ext cx="4899986" cy="1567995"/>
      </dsp:txXfrm>
    </dsp:sp>
    <dsp:sp modelId="{8081E4B8-1EEE-4DE6-AC6D-9833C48E8249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DDBD0A-721F-41A3-9E5C-F9636709EBD3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DACB5A-7A81-4FF7-A070-354FA6DD0E6F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Leverage existing relationships</a:t>
          </a:r>
        </a:p>
      </dsp:txBody>
      <dsp:txXfrm>
        <a:off x="6340433" y="441643"/>
        <a:ext cx="4899986" cy="156799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BDE07B-7138-4809-91D7-B2EE84BE9312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B642E5-FDBC-4A7F-8826-BE1C0AE0E37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9129E4-DC45-4D15-AA12-27E376B7EAB8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Propose options &amp; recommend</a:t>
          </a:r>
        </a:p>
      </dsp:txBody>
      <dsp:txXfrm>
        <a:off x="411449" y="441643"/>
        <a:ext cx="4899986" cy="1567995"/>
      </dsp:txXfrm>
    </dsp:sp>
    <dsp:sp modelId="{100E1FC2-D2D6-4E81-AFB2-6BD82CA202B7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FF2323-7D7A-4C0D-B719-41A49B6F3C4E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BC1007-3C93-4E64-AE77-0DB155200ED4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>
              <a:solidFill>
                <a:schemeClr val="tx2"/>
              </a:solidFill>
            </a:rPr>
            <a:t>Environment </a:t>
          </a:r>
          <a:r>
            <a:rPr lang="en-GB" sz="2800" kern="1200" dirty="0">
              <a:solidFill>
                <a:schemeClr val="tx2"/>
              </a:solidFill>
            </a:rPr>
            <a:t>&amp; culture</a:t>
          </a:r>
        </a:p>
      </dsp:txBody>
      <dsp:txXfrm>
        <a:off x="6340433" y="441643"/>
        <a:ext cx="4899986" cy="156799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21323C-45AD-40FD-93EE-BF050C387DDB}">
      <dsp:nvSpPr>
        <dsp:cNvPr id="0" name=""/>
        <dsp:cNvSpPr/>
      </dsp:nvSpPr>
      <dsp:spPr>
        <a:xfrm>
          <a:off x="1286210" y="919599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0000" b="-10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2083E3-90ED-4570-A2F5-8BFA526453E4}">
      <dsp:nvSpPr>
        <dsp:cNvPr id="0" name=""/>
        <dsp:cNvSpPr/>
      </dsp:nvSpPr>
      <dsp:spPr>
        <a:xfrm>
          <a:off x="559800" y="2474724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 dirty="0"/>
            <a:t>Centrally Funded</a:t>
          </a:r>
          <a:endParaRPr lang="en-US" sz="3600" kern="1200" dirty="0"/>
        </a:p>
      </dsp:txBody>
      <dsp:txXfrm>
        <a:off x="559800" y="2474724"/>
        <a:ext cx="4320000" cy="648000"/>
      </dsp:txXfrm>
    </dsp:sp>
    <dsp:sp modelId="{B01729F6-1759-407A-8032-00613FB16AC1}">
      <dsp:nvSpPr>
        <dsp:cNvPr id="0" name=""/>
        <dsp:cNvSpPr/>
      </dsp:nvSpPr>
      <dsp:spPr>
        <a:xfrm>
          <a:off x="559800" y="3175807"/>
          <a:ext cx="4320000" cy="326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3B3AF4-A71A-410C-8391-BE7869ED3FDA}">
      <dsp:nvSpPr>
        <dsp:cNvPr id="0" name=""/>
        <dsp:cNvSpPr/>
      </dsp:nvSpPr>
      <dsp:spPr>
        <a:xfrm>
          <a:off x="6551981" y="880151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0000" b="-10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9A9805-FE37-4829-8C54-2BC43D2669A6}">
      <dsp:nvSpPr>
        <dsp:cNvPr id="0" name=""/>
        <dsp:cNvSpPr/>
      </dsp:nvSpPr>
      <dsp:spPr>
        <a:xfrm>
          <a:off x="5635800" y="2474724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Business Funded</a:t>
          </a:r>
          <a:endParaRPr lang="en-US" sz="3600" kern="1200"/>
        </a:p>
      </dsp:txBody>
      <dsp:txXfrm>
        <a:off x="5635800" y="2474724"/>
        <a:ext cx="4320000" cy="648000"/>
      </dsp:txXfrm>
    </dsp:sp>
    <dsp:sp modelId="{E27261A6-B131-4200-968B-527C91F1837C}">
      <dsp:nvSpPr>
        <dsp:cNvPr id="0" name=""/>
        <dsp:cNvSpPr/>
      </dsp:nvSpPr>
      <dsp:spPr>
        <a:xfrm>
          <a:off x="5635800" y="3175807"/>
          <a:ext cx="4320000" cy="326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316B12-8CDF-4966-8386-A25B656CCFCB}">
      <dsp:nvSpPr>
        <dsp:cNvPr id="0" name=""/>
        <dsp:cNvSpPr/>
      </dsp:nvSpPr>
      <dsp:spPr>
        <a:xfrm>
          <a:off x="1963618" y="0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Obtaining executive sponsorship and communicating it</a:t>
          </a:r>
          <a:endParaRPr lang="en-GB" sz="2400" kern="1200" dirty="0"/>
        </a:p>
      </dsp:txBody>
      <dsp:txXfrm>
        <a:off x="1963618" y="0"/>
        <a:ext cx="7854474" cy="1440619"/>
      </dsp:txXfrm>
    </dsp:sp>
    <dsp:sp modelId="{E9F836B8-166B-45D6-9F84-CEA44AD858A3}">
      <dsp:nvSpPr>
        <dsp:cNvPr id="0" name=""/>
        <dsp:cNvSpPr/>
      </dsp:nvSpPr>
      <dsp:spPr>
        <a:xfrm>
          <a:off x="0" y="1405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Sponsorship</a:t>
          </a:r>
          <a:endParaRPr lang="en-US" sz="2400" kern="1200" dirty="0"/>
        </a:p>
      </dsp:txBody>
      <dsp:txXfrm>
        <a:off x="0" y="1405"/>
        <a:ext cx="1963618" cy="1440619"/>
      </dsp:txXfrm>
    </dsp:sp>
    <dsp:sp modelId="{2114C062-4588-40FE-96A8-5F5F1E9EA85C}">
      <dsp:nvSpPr>
        <dsp:cNvPr id="0" name=""/>
        <dsp:cNvSpPr/>
      </dsp:nvSpPr>
      <dsp:spPr>
        <a:xfrm>
          <a:off x="1963618" y="1528462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Aligning program goals to corporate goals</a:t>
          </a:r>
          <a:endParaRPr lang="en-GB" sz="2400" kern="1200" dirty="0"/>
        </a:p>
      </dsp:txBody>
      <dsp:txXfrm>
        <a:off x="1963618" y="1528462"/>
        <a:ext cx="7854474" cy="1440619"/>
      </dsp:txXfrm>
    </dsp:sp>
    <dsp:sp modelId="{16443801-5F57-4607-8761-13ED407B51E9}">
      <dsp:nvSpPr>
        <dsp:cNvPr id="0" name=""/>
        <dsp:cNvSpPr/>
      </dsp:nvSpPr>
      <dsp:spPr>
        <a:xfrm>
          <a:off x="0" y="1528462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Goals</a:t>
          </a:r>
          <a:endParaRPr lang="en-GB" sz="2400" kern="1200" dirty="0"/>
        </a:p>
      </dsp:txBody>
      <dsp:txXfrm>
        <a:off x="0" y="1528462"/>
        <a:ext cx="1963618" cy="1440619"/>
      </dsp:txXfrm>
    </dsp:sp>
    <dsp:sp modelId="{5E408A61-7D69-4156-A89B-5845F220B35C}">
      <dsp:nvSpPr>
        <dsp:cNvPr id="0" name=""/>
        <dsp:cNvSpPr/>
      </dsp:nvSpPr>
      <dsp:spPr>
        <a:xfrm>
          <a:off x="1963618" y="3055519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Planning strategy and execution, and measuring the program</a:t>
          </a:r>
          <a:endParaRPr lang="en-GB" sz="2400" kern="1200" dirty="0"/>
        </a:p>
      </dsp:txBody>
      <dsp:txXfrm>
        <a:off x="1963618" y="3055519"/>
        <a:ext cx="7854474" cy="1440619"/>
      </dsp:txXfrm>
    </dsp:sp>
    <dsp:sp modelId="{59E90048-F00B-4299-A3BE-EA32C92CD91A}">
      <dsp:nvSpPr>
        <dsp:cNvPr id="0" name=""/>
        <dsp:cNvSpPr/>
      </dsp:nvSpPr>
      <dsp:spPr>
        <a:xfrm>
          <a:off x="0" y="3055519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Planning</a:t>
          </a:r>
          <a:endParaRPr lang="en-GB" sz="2400" kern="1200" dirty="0"/>
        </a:p>
      </dsp:txBody>
      <dsp:txXfrm>
        <a:off x="0" y="3055519"/>
        <a:ext cx="1963618" cy="1440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389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505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7196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921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1/5/2019 12:3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381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724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8277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67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218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857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044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623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6197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94481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73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282206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04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1252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88" r:id="rId2"/>
    <p:sldLayoutId id="2147483890" r:id="rId3"/>
    <p:sldLayoutId id="2147483919" r:id="rId4"/>
    <p:sldLayoutId id="2147483920" r:id="rId5"/>
    <p:sldLayoutId id="2147483922" r:id="rId6"/>
    <p:sldLayoutId id="2147483925" r:id="rId7"/>
    <p:sldLayoutId id="2147483894" r:id="rId8"/>
    <p:sldLayoutId id="2147483895" r:id="rId9"/>
    <p:sldLayoutId id="2147483876" r:id="rId10"/>
    <p:sldLayoutId id="2147483923" r:id="rId11"/>
    <p:sldLayoutId id="2147483924" r:id="rId12"/>
    <p:sldLayoutId id="2147483984" r:id="rId13"/>
    <p:sldLayoutId id="214748411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slideLayout" Target="../slideLayouts/slideLayout13.xml"/><Relationship Id="rId7" Type="http://schemas.openxmlformats.org/officeDocument/2006/relationships/diagramQuickStyle" Target="../diagrams/quickStyle6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notesSlide" Target="../notesSlides/notesSlide11.xml"/><Relationship Id="rId9" Type="http://schemas.microsoft.com/office/2007/relationships/diagramDrawing" Target="../diagrams/drawing6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notesSlide" Target="../notesSlides/notesSlide12.xml"/><Relationship Id="rId7" Type="http://schemas.openxmlformats.org/officeDocument/2006/relationships/diagramColors" Target="../diagrams/colors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6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2.sv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11" Type="http://schemas.openxmlformats.org/officeDocument/2006/relationships/image" Target="../media/image24.svg"/><Relationship Id="rId5" Type="http://schemas.openxmlformats.org/officeDocument/2006/relationships/image" Target="../media/image4.svg"/><Relationship Id="rId10" Type="http://schemas.openxmlformats.org/officeDocument/2006/relationships/image" Target="../media/image23.png"/><Relationship Id="rId4" Type="http://schemas.openxmlformats.org/officeDocument/2006/relationships/image" Target="../media/image3.png"/><Relationship Id="rId9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2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8.sv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11" Type="http://schemas.openxmlformats.org/officeDocument/2006/relationships/image" Target="../media/image16.svg"/><Relationship Id="rId5" Type="http://schemas.openxmlformats.org/officeDocument/2006/relationships/image" Target="../media/image6.svg"/><Relationship Id="rId10" Type="http://schemas.openxmlformats.org/officeDocument/2006/relationships/image" Target="../media/image15.png"/><Relationship Id="rId4" Type="http://schemas.openxmlformats.org/officeDocument/2006/relationships/image" Target="../media/image5.png"/><Relationship Id="rId9" Type="http://schemas.openxmlformats.org/officeDocument/2006/relationships/image" Target="../media/image3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Introduction to the Framework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898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244">
        <p:fade/>
      </p:transition>
    </mc:Choice>
    <mc:Fallback xmlns="">
      <p:transition spd="med" advTm="5244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C8A38-BA68-465C-83AF-92F7F1D45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option Framework Workshop Key Learning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270066" y="1189495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260BC4D-D2E9-4FF5-9E95-08CD83CEAB3A}"/>
              </a:ext>
            </a:extLst>
          </p:cNvPr>
          <p:cNvGraphicFramePr/>
          <p:nvPr/>
        </p:nvGraphicFramePr>
        <p:xfrm>
          <a:off x="269241" y="3923147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407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6022">
        <p:fade/>
      </p:transition>
    </mc:Choice>
    <mc:Fallback xmlns="">
      <p:transition spd="med" advTm="5602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081E4B8-1EEE-4DE6-AC6D-9833C48E82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EDDBD0A-721F-41A3-9E5C-F9636709EB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8DACB5A-7A81-4FF7-A070-354FA6DD0E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B642E5-FDBC-4A7F-8826-BE1C0AE0E3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9BDE07B-7138-4809-91D7-B2EE84BE93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F9129E4-DC45-4D15-AA12-27E376B7EA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8FF2323-7D7A-4C0D-B719-41A49B6F3C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00E1FC2-D2D6-4E81-AFB2-6BD82CA20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4BC1007-3C93-4E64-AE77-0DB155200E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  <p:bldGraphic spid="5" grpId="0">
        <p:bldSub>
          <a:bldDgm bld="lvl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F4B3A-D940-4823-A096-27512C9B7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4900" dirty="0"/>
              <a:t>Funding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Approach</a:t>
            </a: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832A5D8A-283A-4298-9957-AD6FA61D7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403702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934423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35123">
        <p:fade/>
      </p:transition>
    </mc:Choice>
    <mc:Fallback xmlns="">
      <p:transition spd="med" advTm="35123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Requirements</a:t>
            </a:r>
          </a:p>
        </p:txBody>
      </p:sp>
      <p:graphicFrame>
        <p:nvGraphicFramePr>
          <p:cNvPr id="6" name="Teksta vietturis 3">
            <a:extLst>
              <a:ext uri="{FF2B5EF4-FFF2-40B4-BE49-F238E27FC236}">
                <a16:creationId xmlns:a16="http://schemas.microsoft.com/office/drawing/2014/main" id="{B4E5927B-7C7F-4B71-9AE0-C31FF1C4BA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9106454"/>
              </p:ext>
            </p:extLst>
          </p:nvPr>
        </p:nvGraphicFramePr>
        <p:xfrm>
          <a:off x="1219380" y="1523003"/>
          <a:ext cx="9818093" cy="4497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434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035">
        <p:fade/>
      </p:transition>
    </mc:Choice>
    <mc:Fallback xmlns="">
      <p:transition spd="med" advTm="63035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09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8569F5D-A3C4-4C6F-A5F9-441B91DCC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899537"/>
          </a:xfrm>
        </p:spPr>
        <p:txBody>
          <a:bodyPr/>
          <a:lstStyle/>
          <a:p>
            <a:r>
              <a:rPr lang="en-GB" dirty="0"/>
              <a:t>Why do we need a Framework?</a:t>
            </a:r>
          </a:p>
        </p:txBody>
      </p:sp>
      <p:graphicFrame>
        <p:nvGraphicFramePr>
          <p:cNvPr id="5" name="Teksta vietturis 3">
            <a:extLst>
              <a:ext uri="{FF2B5EF4-FFF2-40B4-BE49-F238E27FC236}">
                <a16:creationId xmlns:a16="http://schemas.microsoft.com/office/drawing/2014/main" id="{570E6DB2-2B7C-4337-9B95-DC811546FE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8246510"/>
              </p:ext>
            </p:extLst>
          </p:nvPr>
        </p:nvGraphicFramePr>
        <p:xfrm>
          <a:off x="1184084" y="1391952"/>
          <a:ext cx="9818093" cy="4497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928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336">
        <p:fade/>
      </p:transition>
    </mc:Choice>
    <mc:Fallback xmlns="">
      <p:transition spd="med" advTm="3333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9F836B8-166B-45D6-9F84-CEA44AD858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E9F836B8-166B-45D6-9F84-CEA44AD858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D316B12-8CDF-4966-8386-A25B656CCF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1D316B12-8CDF-4966-8386-A25B656CCF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FF1DA46-AF1D-4D22-B9CC-6C2190A5D7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graphicEl>
                                              <a:dgm id="{0FF1DA46-AF1D-4D22-B9CC-6C2190A5D71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75AB7FF-ADF3-4742-9CB9-E84F789DC3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graphicEl>
                                              <a:dgm id="{875AB7FF-ADF3-4742-9CB9-E84F789DC38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A7DB8B-597A-4003-A78F-BE5DFAC45A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graphicEl>
                                              <a:dgm id="{5FA7DB8B-597A-4003-A78F-BE5DFAC45A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E123CF5-A7F8-4951-AEBF-F17A816F94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graphicEl>
                                              <a:dgm id="{9E123CF5-A7F8-4951-AEBF-F17A816F940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621E899-7F41-4A13-8270-BFF0E49A6787}"/>
              </a:ext>
            </a:extLst>
          </p:cNvPr>
          <p:cNvGrpSpPr>
            <a:grpSpLocks noChangeAspect="1"/>
          </p:cNvGrpSpPr>
          <p:nvPr/>
        </p:nvGrpSpPr>
        <p:grpSpPr>
          <a:xfrm>
            <a:off x="4381805" y="2147522"/>
            <a:ext cx="3178551" cy="2844101"/>
            <a:chOff x="4381805" y="2147522"/>
            <a:chExt cx="3178551" cy="2844101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C25ECE9-B8BE-465D-9E9E-26A3BA29D346}"/>
                </a:ext>
              </a:extLst>
            </p:cNvPr>
            <p:cNvSpPr/>
            <p:nvPr/>
          </p:nvSpPr>
          <p:spPr>
            <a:xfrm>
              <a:off x="5001623" y="3010037"/>
              <a:ext cx="1938914" cy="1981586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4" name="Rectangle 23" descr="Meeting">
              <a:extLst>
                <a:ext uri="{FF2B5EF4-FFF2-40B4-BE49-F238E27FC236}">
                  <a16:creationId xmlns:a16="http://schemas.microsoft.com/office/drawing/2014/main" id="{FF6DF7ED-F33E-4160-8A0D-5A3D92AD531E}"/>
                </a:ext>
              </a:extLst>
            </p:cNvPr>
            <p:cNvSpPr/>
            <p:nvPr/>
          </p:nvSpPr>
          <p:spPr>
            <a:xfrm>
              <a:off x="5399903" y="3432342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FEF24C9-ADE4-4585-8271-4F1CFCC1F4D2}"/>
                </a:ext>
              </a:extLst>
            </p:cNvPr>
            <p:cNvSpPr/>
            <p:nvPr/>
          </p:nvSpPr>
          <p:spPr>
            <a:xfrm>
              <a:off x="4381805" y="2147522"/>
              <a:ext cx="3178551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On-board</a:t>
              </a:r>
              <a:endParaRPr lang="en-US" sz="3200" kern="1200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9B08146-C7A1-46BC-8B26-27C7A954E040}"/>
              </a:ext>
            </a:extLst>
          </p:cNvPr>
          <p:cNvGrpSpPr>
            <a:grpSpLocks noChangeAspect="1"/>
          </p:cNvGrpSpPr>
          <p:nvPr/>
        </p:nvGrpSpPr>
        <p:grpSpPr>
          <a:xfrm>
            <a:off x="7960817" y="2141894"/>
            <a:ext cx="3178550" cy="2849729"/>
            <a:chOff x="7960817" y="2141894"/>
            <a:chExt cx="3178550" cy="2849729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C4EB417-115E-4375-9B47-D23CAAC1F576}"/>
                </a:ext>
              </a:extLst>
            </p:cNvPr>
            <p:cNvSpPr/>
            <p:nvPr/>
          </p:nvSpPr>
          <p:spPr>
            <a:xfrm>
              <a:off x="8580635" y="3010038"/>
              <a:ext cx="1938914" cy="1981585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7" name="Rectangle 26" descr="Head with Gears">
              <a:extLst>
                <a:ext uri="{FF2B5EF4-FFF2-40B4-BE49-F238E27FC236}">
                  <a16:creationId xmlns:a16="http://schemas.microsoft.com/office/drawing/2014/main" id="{CE78AF06-07D4-4A78-BE32-E96F5DA3724D}"/>
                </a:ext>
              </a:extLst>
            </p:cNvPr>
            <p:cNvSpPr/>
            <p:nvPr/>
          </p:nvSpPr>
          <p:spPr>
            <a:xfrm>
              <a:off x="8993847" y="3432343"/>
              <a:ext cx="1112492" cy="1136975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24D33-7422-40E4-B98F-A82C397B4517}"/>
                </a:ext>
              </a:extLst>
            </p:cNvPr>
            <p:cNvSpPr/>
            <p:nvPr/>
          </p:nvSpPr>
          <p:spPr>
            <a:xfrm>
              <a:off x="7960817" y="2141894"/>
              <a:ext cx="3178550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Drive value</a:t>
              </a:r>
              <a:endParaRPr lang="en-US" sz="3200" kern="1200" dirty="0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0F6D522-72CA-42C1-83C5-F81F934FA548}"/>
              </a:ext>
            </a:extLst>
          </p:cNvPr>
          <p:cNvSpPr/>
          <p:nvPr/>
        </p:nvSpPr>
        <p:spPr>
          <a:xfrm>
            <a:off x="802792" y="2147521"/>
            <a:ext cx="3178552" cy="756015"/>
          </a:xfrm>
          <a:custGeom>
            <a:avLst/>
            <a:gdLst>
              <a:gd name="connsiteX0" fmla="*/ 0 w 3093750"/>
              <a:gd name="connsiteY0" fmla="*/ 0 h 720000"/>
              <a:gd name="connsiteX1" fmla="*/ 3093750 w 3093750"/>
              <a:gd name="connsiteY1" fmla="*/ 0 h 720000"/>
              <a:gd name="connsiteX2" fmla="*/ 3093750 w 3093750"/>
              <a:gd name="connsiteY2" fmla="*/ 720000 h 720000"/>
              <a:gd name="connsiteX3" fmla="*/ 0 w 3093750"/>
              <a:gd name="connsiteY3" fmla="*/ 720000 h 720000"/>
              <a:gd name="connsiteX4" fmla="*/ 0 w 30937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3750" h="720000">
                <a:moveTo>
                  <a:pt x="0" y="0"/>
                </a:moveTo>
                <a:lnTo>
                  <a:pt x="3093750" y="0"/>
                </a:lnTo>
                <a:lnTo>
                  <a:pt x="30937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  <a:defRPr cap="all"/>
            </a:pPr>
            <a:r>
              <a:rPr lang="en-GB" sz="3200" kern="1200" dirty="0"/>
              <a:t>Envision</a:t>
            </a:r>
            <a:endParaRPr lang="en-US" sz="3200" kern="12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CCBF6AA-7F9E-4C23-A2D3-02559FDBE7CE}"/>
              </a:ext>
            </a:extLst>
          </p:cNvPr>
          <p:cNvSpPr/>
          <p:nvPr/>
        </p:nvSpPr>
        <p:spPr>
          <a:xfrm>
            <a:off x="1422610" y="3010036"/>
            <a:ext cx="1938915" cy="1981587"/>
          </a:xfrm>
          <a:prstGeom prst="ellipse">
            <a:avLst/>
          </a:prstGeom>
          <a:solidFill>
            <a:schemeClr val="tx2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/>
        </p:style>
      </p:sp>
      <p:sp>
        <p:nvSpPr>
          <p:cNvPr id="20" name="Rectangle 19" descr="Lightbulb">
            <a:extLst>
              <a:ext uri="{FF2B5EF4-FFF2-40B4-BE49-F238E27FC236}">
                <a16:creationId xmlns:a16="http://schemas.microsoft.com/office/drawing/2014/main" id="{C8728FB1-FA31-497A-9D11-EA3F56EDDBE8}"/>
              </a:ext>
            </a:extLst>
          </p:cNvPr>
          <p:cNvSpPr/>
          <p:nvPr/>
        </p:nvSpPr>
        <p:spPr>
          <a:xfrm>
            <a:off x="1820910" y="3432342"/>
            <a:ext cx="1112493" cy="1136976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bg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293103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360">
        <p:fade/>
      </p:transition>
    </mc:Choice>
    <mc:Fallback xmlns="">
      <p:transition spd="med" advTm="2136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41963F-66FF-46A6-AF16-9AA0F588A8D1}"/>
              </a:ext>
            </a:extLst>
          </p:cNvPr>
          <p:cNvGrpSpPr>
            <a:grpSpLocks noChangeAspect="1"/>
          </p:cNvGrpSpPr>
          <p:nvPr/>
        </p:nvGrpSpPr>
        <p:grpSpPr>
          <a:xfrm>
            <a:off x="802792" y="2147521"/>
            <a:ext cx="3178552" cy="2844102"/>
            <a:chOff x="802792" y="2147521"/>
            <a:chExt cx="3178552" cy="2844102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0F6D522-72CA-42C1-83C5-F81F934FA548}"/>
                </a:ext>
              </a:extLst>
            </p:cNvPr>
            <p:cNvSpPr/>
            <p:nvPr/>
          </p:nvSpPr>
          <p:spPr>
            <a:xfrm>
              <a:off x="802792" y="2147521"/>
              <a:ext cx="3178552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Envision</a:t>
              </a:r>
              <a:endParaRPr lang="en-US" sz="3200" kern="1200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CCBF6AA-7F9E-4C23-A2D3-02559FDBE7CE}"/>
                </a:ext>
              </a:extLst>
            </p:cNvPr>
            <p:cNvSpPr/>
            <p:nvPr/>
          </p:nvSpPr>
          <p:spPr>
            <a:xfrm>
              <a:off x="1422610" y="3010036"/>
              <a:ext cx="1938915" cy="1981587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0" name="Rectangle 19" descr="Lightbulb">
              <a:extLst>
                <a:ext uri="{FF2B5EF4-FFF2-40B4-BE49-F238E27FC236}">
                  <a16:creationId xmlns:a16="http://schemas.microsoft.com/office/drawing/2014/main" id="{C8728FB1-FA31-497A-9D11-EA3F56EDDBE8}"/>
                </a:ext>
              </a:extLst>
            </p:cNvPr>
            <p:cNvSpPr/>
            <p:nvPr/>
          </p:nvSpPr>
          <p:spPr>
            <a:xfrm>
              <a:off x="1820910" y="3432342"/>
              <a:ext cx="1112493" cy="1136976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F3546F-BD90-47E9-9198-4F6EDEE63505}"/>
              </a:ext>
            </a:extLst>
          </p:cNvPr>
          <p:cNvGrpSpPr/>
          <p:nvPr/>
        </p:nvGrpSpPr>
        <p:grpSpPr>
          <a:xfrm>
            <a:off x="6213840" y="1253813"/>
            <a:ext cx="2835584" cy="1366418"/>
            <a:chOff x="6213840" y="1253813"/>
            <a:chExt cx="2835584" cy="1366418"/>
          </a:xfrm>
        </p:grpSpPr>
        <p:pic>
          <p:nvPicPr>
            <p:cNvPr id="6" name="Graphic 5" descr="User">
              <a:extLst>
                <a:ext uri="{FF2B5EF4-FFF2-40B4-BE49-F238E27FC236}">
                  <a16:creationId xmlns:a16="http://schemas.microsoft.com/office/drawing/2014/main" id="{BF322857-47C6-4D7A-997E-4A50865F5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74432" y="1253813"/>
              <a:ext cx="914400" cy="9144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87D5FA2-71B0-4E0D-89C6-CFF15F4F08C9}"/>
                </a:ext>
              </a:extLst>
            </p:cNvPr>
            <p:cNvSpPr txBox="1"/>
            <p:nvPr/>
          </p:nvSpPr>
          <p:spPr>
            <a:xfrm>
              <a:off x="6213840" y="2047767"/>
              <a:ext cx="2835584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ducate Exec Sponsor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ED6913C-9D39-4DA0-A7AA-21EDC8910553}"/>
              </a:ext>
            </a:extLst>
          </p:cNvPr>
          <p:cNvGrpSpPr/>
          <p:nvPr/>
        </p:nvGrpSpPr>
        <p:grpSpPr>
          <a:xfrm>
            <a:off x="4928263" y="2910577"/>
            <a:ext cx="2571153" cy="1370917"/>
            <a:chOff x="4928263" y="2910577"/>
            <a:chExt cx="2571153" cy="1370917"/>
          </a:xfrm>
        </p:grpSpPr>
        <p:pic>
          <p:nvPicPr>
            <p:cNvPr id="9" name="Graphic 8" descr="Teacher">
              <a:extLst>
                <a:ext uri="{FF2B5EF4-FFF2-40B4-BE49-F238E27FC236}">
                  <a16:creationId xmlns:a16="http://schemas.microsoft.com/office/drawing/2014/main" id="{144E6E09-4320-4198-B90D-1FD459B19C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56897" y="2910577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4928263" y="3709030"/>
              <a:ext cx="257115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dentify Champion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4BE0B66-A7EB-410E-B039-DDD47AB6CC5F}"/>
              </a:ext>
            </a:extLst>
          </p:cNvPr>
          <p:cNvGrpSpPr/>
          <p:nvPr/>
        </p:nvGrpSpPr>
        <p:grpSpPr>
          <a:xfrm>
            <a:off x="8278949" y="2938615"/>
            <a:ext cx="2151230" cy="1349704"/>
            <a:chOff x="8278949" y="2938615"/>
            <a:chExt cx="2151230" cy="1349704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834802" y="2938615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278949" y="3715855"/>
              <a:ext cx="2151230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rain Pilot Team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12CFD7C-39A0-4A88-BD71-33A32A8C8780}"/>
              </a:ext>
            </a:extLst>
          </p:cNvPr>
          <p:cNvGrpSpPr/>
          <p:nvPr/>
        </p:nvGrpSpPr>
        <p:grpSpPr>
          <a:xfrm>
            <a:off x="5368352" y="4585934"/>
            <a:ext cx="1690976" cy="1486864"/>
            <a:chOff x="5368352" y="4585934"/>
            <a:chExt cx="1690976" cy="1486864"/>
          </a:xfrm>
        </p:grpSpPr>
        <p:pic>
          <p:nvPicPr>
            <p:cNvPr id="13" name="Graphic 12" descr="Piggy Bank">
              <a:extLst>
                <a:ext uri="{FF2B5EF4-FFF2-40B4-BE49-F238E27FC236}">
                  <a16:creationId xmlns:a16="http://schemas.microsoft.com/office/drawing/2014/main" id="{45D38E26-3B8C-4BAC-9E34-E28C89703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59636" y="4585934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5368352" y="5500334"/>
              <a:ext cx="1690976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e Valu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E7F2EA5-5A1E-4B3C-AAFA-F2891EC9395E}"/>
              </a:ext>
            </a:extLst>
          </p:cNvPr>
          <p:cNvGrpSpPr/>
          <p:nvPr/>
        </p:nvGrpSpPr>
        <p:grpSpPr>
          <a:xfrm>
            <a:off x="7922152" y="4588943"/>
            <a:ext cx="2864823" cy="1483855"/>
            <a:chOff x="7922152" y="4588943"/>
            <a:chExt cx="2864823" cy="1483855"/>
          </a:xfrm>
        </p:grpSpPr>
        <p:pic>
          <p:nvPicPr>
            <p:cNvPr id="16" name="Graphic 15" descr="Disconnected">
              <a:extLst>
                <a:ext uri="{FF2B5EF4-FFF2-40B4-BE49-F238E27FC236}">
                  <a16:creationId xmlns:a16="http://schemas.microsoft.com/office/drawing/2014/main" id="{36719ADD-ECD6-4BF1-9618-B1A515A05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834802" y="4588943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7922152" y="5500334"/>
              <a:ext cx="286482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ress Product Gap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1269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301588">
        <p159:morph option="byObject"/>
      </p:transition>
    </mc:Choice>
    <mc:Fallback xmlns="">
      <p:transition spd="slow" advTm="30158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C8A38-BA68-465C-83AF-92F7F1D45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vision – Key Learning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270066" y="1189495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260BC4D-D2E9-4FF5-9E95-08CD83CEAB3A}"/>
              </a:ext>
            </a:extLst>
          </p:cNvPr>
          <p:cNvGraphicFramePr/>
          <p:nvPr/>
        </p:nvGraphicFramePr>
        <p:xfrm>
          <a:off x="269241" y="3923147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505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3511">
        <p:fade/>
      </p:transition>
    </mc:Choice>
    <mc:Fallback xmlns="">
      <p:transition spd="med" advTm="20351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FBCECC8-CA55-4092-A1A4-48009678FB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EFBCECC8-CA55-4092-A1A4-48009678FB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5F042FE-5A8E-4D45-8938-06486985E6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graphicEl>
                                              <a:dgm id="{75F042FE-5A8E-4D45-8938-06486985E68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4CD67E7-208D-46C4-AF0E-E35A6F8657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graphicEl>
                                              <a:dgm id="{04CD67E7-208D-46C4-AF0E-E35A6F8657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FDE28F-AC5D-4145-AA52-F41BF12E4E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graphicEl>
                                              <a:dgm id="{78FDE28F-AC5D-4145-AA52-F41BF12E4E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634C02-4855-4AD1-AAD1-1EA3418B8F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12634C02-4855-4AD1-AAD1-1EA3418B8F0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AD3068B-D09B-4BE0-A02D-392F4ED9D5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dgm id="{FAD3068B-D09B-4BE0-A02D-392F4ED9D5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E209DBE-9E58-4C16-AF70-D35331A374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graphicEl>
                                              <a:dgm id="{EE209DBE-9E58-4C16-AF70-D35331A374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364D7B0-DF44-4ED5-9346-488877CA773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>
                                            <p:graphicEl>
                                              <a:dgm id="{4364D7B0-DF44-4ED5-9346-488877CA773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5FE2AA-9340-4FF3-BB8B-A844B89298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">
                                            <p:graphicEl>
                                              <a:dgm id="{3D5FE2AA-9340-4FF3-BB8B-A844B89298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  <p:bldGraphic spid="5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00141222-C00D-4195-A541-7FB62A5BF742}"/>
              </a:ext>
            </a:extLst>
          </p:cNvPr>
          <p:cNvGrpSpPr>
            <a:grpSpLocks noChangeAspect="1"/>
          </p:cNvGrpSpPr>
          <p:nvPr/>
        </p:nvGrpSpPr>
        <p:grpSpPr>
          <a:xfrm>
            <a:off x="800831" y="2147521"/>
            <a:ext cx="3178551" cy="2844101"/>
            <a:chOff x="4381805" y="2147522"/>
            <a:chExt cx="3178551" cy="2844101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9AD4E4E-D78C-4944-9694-F4A0158C8AB2}"/>
                </a:ext>
              </a:extLst>
            </p:cNvPr>
            <p:cNvSpPr/>
            <p:nvPr/>
          </p:nvSpPr>
          <p:spPr>
            <a:xfrm>
              <a:off x="5001623" y="3010037"/>
              <a:ext cx="1938914" cy="1981586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2" name="Rectangle 21" descr="Meeting">
              <a:extLst>
                <a:ext uri="{FF2B5EF4-FFF2-40B4-BE49-F238E27FC236}">
                  <a16:creationId xmlns:a16="http://schemas.microsoft.com/office/drawing/2014/main" id="{7D1EFF77-44A7-4C38-ACB6-64533D7C12B4}"/>
                </a:ext>
              </a:extLst>
            </p:cNvPr>
            <p:cNvSpPr/>
            <p:nvPr/>
          </p:nvSpPr>
          <p:spPr>
            <a:xfrm>
              <a:off x="5399903" y="3432342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7922DB8-82DA-4C15-B417-ADE340533101}"/>
                </a:ext>
              </a:extLst>
            </p:cNvPr>
            <p:cNvSpPr/>
            <p:nvPr/>
          </p:nvSpPr>
          <p:spPr>
            <a:xfrm>
              <a:off x="4381805" y="2147522"/>
              <a:ext cx="3178551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On-board</a:t>
              </a:r>
              <a:endParaRPr lang="en-US" sz="3200" kern="1200" dirty="0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062C66-C362-4696-AAC8-CDCBFED8C75B}"/>
              </a:ext>
            </a:extLst>
          </p:cNvPr>
          <p:cNvGrpSpPr/>
          <p:nvPr/>
        </p:nvGrpSpPr>
        <p:grpSpPr>
          <a:xfrm>
            <a:off x="5198686" y="1693754"/>
            <a:ext cx="2097177" cy="1473901"/>
            <a:chOff x="5198686" y="1693754"/>
            <a:chExt cx="2097177" cy="1473901"/>
          </a:xfrm>
        </p:grpSpPr>
        <p:pic>
          <p:nvPicPr>
            <p:cNvPr id="15" name="Graphic 14" descr="Decision chart">
              <a:extLst>
                <a:ext uri="{FF2B5EF4-FFF2-40B4-BE49-F238E27FC236}">
                  <a16:creationId xmlns:a16="http://schemas.microsoft.com/office/drawing/2014/main" id="{CE35A16D-29B5-460E-A79C-E67B4ECF3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06871" y="1693754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5198686" y="2595191"/>
              <a:ext cx="2097177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lect a Project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D64B850-7CFB-4D24-8AC3-2C687B014F60}"/>
              </a:ext>
            </a:extLst>
          </p:cNvPr>
          <p:cNvGrpSpPr/>
          <p:nvPr/>
        </p:nvGrpSpPr>
        <p:grpSpPr>
          <a:xfrm>
            <a:off x="8024423" y="1823250"/>
            <a:ext cx="2660280" cy="1365482"/>
            <a:chOff x="8024423" y="1823250"/>
            <a:chExt cx="2660280" cy="1365482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34801" y="1823250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024423" y="2616268"/>
              <a:ext cx="2660280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option Workshop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9537364-FA42-4B4F-8B8A-6AB1CE2B0E3B}"/>
              </a:ext>
            </a:extLst>
          </p:cNvPr>
          <p:cNvGrpSpPr/>
          <p:nvPr/>
        </p:nvGrpSpPr>
        <p:grpSpPr>
          <a:xfrm>
            <a:off x="4874077" y="3943742"/>
            <a:ext cx="2746393" cy="1486864"/>
            <a:chOff x="4874077" y="3943742"/>
            <a:chExt cx="2746393" cy="1486864"/>
          </a:xfrm>
        </p:grpSpPr>
        <p:pic>
          <p:nvPicPr>
            <p:cNvPr id="25" name="Graphic 24" descr="Scales of justice">
              <a:extLst>
                <a:ext uri="{FF2B5EF4-FFF2-40B4-BE49-F238E27FC236}">
                  <a16:creationId xmlns:a16="http://schemas.microsoft.com/office/drawing/2014/main" id="{D5C6D695-3777-4464-BD88-11B423C5F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90333" y="3943742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4874077" y="4858142"/>
              <a:ext cx="274639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ress Data Quali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40468E1-AC31-4F6B-A732-57EA40F68112}"/>
              </a:ext>
            </a:extLst>
          </p:cNvPr>
          <p:cNvGrpSpPr/>
          <p:nvPr/>
        </p:nvGrpSpPr>
        <p:grpSpPr>
          <a:xfrm>
            <a:off x="8129644" y="3943764"/>
            <a:ext cx="2449838" cy="1486842"/>
            <a:chOff x="8129644" y="3943764"/>
            <a:chExt cx="2449838" cy="1486842"/>
          </a:xfrm>
        </p:grpSpPr>
        <p:pic>
          <p:nvPicPr>
            <p:cNvPr id="28" name="Graphic 27" descr="Circular flowchart">
              <a:extLst>
                <a:ext uri="{FF2B5EF4-FFF2-40B4-BE49-F238E27FC236}">
                  <a16:creationId xmlns:a16="http://schemas.microsoft.com/office/drawing/2014/main" id="{60AA20CE-EF12-4A29-B7D6-7DD69CFDA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830531" y="394376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8129644" y="4858142"/>
              <a:ext cx="2449838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mplement Projec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8646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75183">
        <p159:morph option="byObject"/>
      </p:transition>
    </mc:Choice>
    <mc:Fallback xmlns="">
      <p:transition spd="slow" advTm="7518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B15AB35-CD9C-44FD-AE9E-DA664356179D}"/>
              </a:ext>
            </a:extLst>
          </p:cNvPr>
          <p:cNvGrpSpPr>
            <a:grpSpLocks noChangeAspect="1"/>
          </p:cNvGrpSpPr>
          <p:nvPr/>
        </p:nvGrpSpPr>
        <p:grpSpPr>
          <a:xfrm>
            <a:off x="800832" y="2141893"/>
            <a:ext cx="3178550" cy="2849729"/>
            <a:chOff x="7960817" y="2141894"/>
            <a:chExt cx="3178550" cy="284972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CA7D544-DF36-4800-89BF-88C5118EC8CF}"/>
                </a:ext>
              </a:extLst>
            </p:cNvPr>
            <p:cNvSpPr/>
            <p:nvPr/>
          </p:nvSpPr>
          <p:spPr>
            <a:xfrm>
              <a:off x="8580635" y="3010038"/>
              <a:ext cx="1938914" cy="1981585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3" name="Rectangle 22" descr="Head with Gears">
              <a:extLst>
                <a:ext uri="{FF2B5EF4-FFF2-40B4-BE49-F238E27FC236}">
                  <a16:creationId xmlns:a16="http://schemas.microsoft.com/office/drawing/2014/main" id="{16E2B148-CCEC-46B1-999F-B20903E8CB9F}"/>
                </a:ext>
              </a:extLst>
            </p:cNvPr>
            <p:cNvSpPr/>
            <p:nvPr/>
          </p:nvSpPr>
          <p:spPr>
            <a:xfrm>
              <a:off x="8993847" y="3432343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BD79E2F-A3E5-4DFF-B41B-559610C10CDA}"/>
                </a:ext>
              </a:extLst>
            </p:cNvPr>
            <p:cNvSpPr/>
            <p:nvPr/>
          </p:nvSpPr>
          <p:spPr>
            <a:xfrm>
              <a:off x="7960817" y="2141894"/>
              <a:ext cx="3178550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Drive value</a:t>
              </a:r>
              <a:endParaRPr lang="en-US" sz="3200" kern="1200" dirty="0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2B3E277-15F6-426D-BEBB-94E6B44585E9}"/>
              </a:ext>
            </a:extLst>
          </p:cNvPr>
          <p:cNvGrpSpPr/>
          <p:nvPr/>
        </p:nvGrpSpPr>
        <p:grpSpPr>
          <a:xfrm>
            <a:off x="5064017" y="1802036"/>
            <a:ext cx="2640403" cy="1370918"/>
            <a:chOff x="5064017" y="1802036"/>
            <a:chExt cx="2640403" cy="1370918"/>
          </a:xfrm>
        </p:grpSpPr>
        <p:pic>
          <p:nvPicPr>
            <p:cNvPr id="6" name="Graphic 5" descr="Bullseye">
              <a:extLst>
                <a:ext uri="{FF2B5EF4-FFF2-40B4-BE49-F238E27FC236}">
                  <a16:creationId xmlns:a16="http://schemas.microsoft.com/office/drawing/2014/main" id="{767AFF36-DBD4-4796-87D0-3F314C048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90333" y="1802036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5064017" y="2600490"/>
              <a:ext cx="264040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entre of Excellenc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13A1E65-69D2-498D-A541-A819528F2467}"/>
              </a:ext>
            </a:extLst>
          </p:cNvPr>
          <p:cNvGrpSpPr/>
          <p:nvPr/>
        </p:nvGrpSpPr>
        <p:grpSpPr>
          <a:xfrm>
            <a:off x="8145501" y="1804611"/>
            <a:ext cx="2455224" cy="1379242"/>
            <a:chOff x="8145501" y="1804611"/>
            <a:chExt cx="2455224" cy="1379242"/>
          </a:xfrm>
        </p:grpSpPr>
        <p:pic>
          <p:nvPicPr>
            <p:cNvPr id="17" name="Graphic 16" descr="Marketing">
              <a:extLst>
                <a:ext uri="{FF2B5EF4-FFF2-40B4-BE49-F238E27FC236}">
                  <a16:creationId xmlns:a16="http://schemas.microsoft.com/office/drawing/2014/main" id="{43E34937-BA76-4DD2-8890-E6BA358EB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915913" y="1804611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145501" y="2611389"/>
              <a:ext cx="2455224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rnal Marketing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E6A7933-6ED6-42E0-96EE-ECB78980E2F6}"/>
              </a:ext>
            </a:extLst>
          </p:cNvPr>
          <p:cNvGrpSpPr/>
          <p:nvPr/>
        </p:nvGrpSpPr>
        <p:grpSpPr>
          <a:xfrm>
            <a:off x="5211551" y="3943764"/>
            <a:ext cx="2345963" cy="1486864"/>
            <a:chOff x="5211551" y="3943764"/>
            <a:chExt cx="2345963" cy="1486864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90648" y="3943764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5211551" y="4858164"/>
              <a:ext cx="234596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d User Training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4A07A57-A16D-40E5-9338-9193E30EB785}"/>
              </a:ext>
            </a:extLst>
          </p:cNvPr>
          <p:cNvGrpSpPr/>
          <p:nvPr/>
        </p:nvGrpSpPr>
        <p:grpSpPr>
          <a:xfrm>
            <a:off x="7983277" y="3943764"/>
            <a:ext cx="2617448" cy="1486864"/>
            <a:chOff x="7983277" y="3943764"/>
            <a:chExt cx="2617448" cy="1486864"/>
          </a:xfrm>
        </p:grpSpPr>
        <p:pic>
          <p:nvPicPr>
            <p:cNvPr id="14" name="Graphic 13" descr="Group brainstorm">
              <a:extLst>
                <a:ext uri="{FF2B5EF4-FFF2-40B4-BE49-F238E27FC236}">
                  <a16:creationId xmlns:a16="http://schemas.microsoft.com/office/drawing/2014/main" id="{CEC6A80A-1EAD-4505-BC57-83C109E55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834802" y="394376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7983277" y="4858164"/>
              <a:ext cx="2617448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rnal Communit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322050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83180">
        <p159:morph option="byObject"/>
      </p:transition>
    </mc:Choice>
    <mc:Fallback xmlns="">
      <p:transition spd="slow" advTm="831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328221" y="123152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Adoption Framework Workshops</a:t>
            </a:r>
            <a:endParaRPr kumimoji="0" lang="en-US" sz="1800" b="0" i="0" u="none" strike="noStrike" kern="1200" cap="none" spc="-102" normalizeH="0" baseline="0" noProof="0" dirty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6D0E9B-4D77-4235-A6CF-7E43991DCD41}"/>
              </a:ext>
            </a:extLst>
          </p:cNvPr>
          <p:cNvGrpSpPr/>
          <p:nvPr/>
        </p:nvGrpSpPr>
        <p:grpSpPr>
          <a:xfrm>
            <a:off x="395404" y="1241701"/>
            <a:ext cx="2717123" cy="5406395"/>
            <a:chOff x="395404" y="1241701"/>
            <a:chExt cx="2717123" cy="5406395"/>
          </a:xfrm>
        </p:grpSpPr>
        <p:grpSp>
          <p:nvGrpSpPr>
            <p:cNvPr id="7" name="Group 6"/>
            <p:cNvGrpSpPr/>
            <p:nvPr/>
          </p:nvGrpSpPr>
          <p:grpSpPr>
            <a:xfrm>
              <a:off x="395404" y="1241701"/>
              <a:ext cx="2717123" cy="5406395"/>
              <a:chOff x="427038" y="2889495"/>
              <a:chExt cx="2898090" cy="5276266"/>
            </a:xfrm>
            <a:solidFill>
              <a:schemeClr val="tx1"/>
            </a:solidFill>
          </p:grpSpPr>
          <p:sp>
            <p:nvSpPr>
              <p:cNvPr id="8" name="Text Placeholder 1"/>
              <p:cNvSpPr txBox="1">
                <a:spLocks/>
              </p:cNvSpPr>
              <p:nvPr/>
            </p:nvSpPr>
            <p:spPr>
              <a:xfrm>
                <a:off x="427038" y="3811930"/>
                <a:ext cx="2898090" cy="4334149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89630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urrent State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Why Govern?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overnance Considerations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overnance Model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Sources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governance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Master Data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Enterprise Data Catalo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Enterprise Data Dictionary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rgbClr val="000000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" name="Text Placeholder 1"/>
              <p:cNvSpPr txBox="1">
                <a:spLocks/>
              </p:cNvSpPr>
              <p:nvPr/>
            </p:nvSpPr>
            <p:spPr>
              <a:xfrm>
                <a:off x="427038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US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Governance</a:t>
                </a:r>
              </a:p>
            </p:txBody>
          </p:sp>
          <p:sp>
            <p:nvSpPr>
              <p:cNvPr id="10" name="Text Placeholder 1"/>
              <p:cNvSpPr txBox="1">
                <a:spLocks/>
              </p:cNvSpPr>
              <p:nvPr/>
            </p:nvSpPr>
            <p:spPr>
              <a:xfrm>
                <a:off x="427038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29" name="Graphic 28" descr="Meeting">
              <a:extLst>
                <a:ext uri="{FF2B5EF4-FFF2-40B4-BE49-F238E27FC236}">
                  <a16:creationId xmlns:a16="http://schemas.microsoft.com/office/drawing/2014/main" id="{3C573F0E-6064-446A-90D2-2AF8DB35B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58291" y="1291719"/>
              <a:ext cx="785661" cy="785661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B586A3D-648A-43EE-B80A-FBE2ACB88D24}"/>
              </a:ext>
            </a:extLst>
          </p:cNvPr>
          <p:cNvGrpSpPr/>
          <p:nvPr/>
        </p:nvGrpSpPr>
        <p:grpSpPr>
          <a:xfrm>
            <a:off x="9201918" y="1241701"/>
            <a:ext cx="2717123" cy="5406395"/>
            <a:chOff x="9201918" y="1241701"/>
            <a:chExt cx="2717123" cy="5406395"/>
          </a:xfrm>
        </p:grpSpPr>
        <p:grpSp>
          <p:nvGrpSpPr>
            <p:cNvPr id="20" name="Group 19"/>
            <p:cNvGrpSpPr/>
            <p:nvPr/>
          </p:nvGrpSpPr>
          <p:grpSpPr>
            <a:xfrm>
              <a:off x="9201918" y="1241701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21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rgbClr val="000000"/>
                    </a:solidFill>
                    <a:latin typeface="Segoe UI"/>
                  </a:rPr>
                  <a:t>Roles and responsibilitie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Phased vs organization wide roll out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Roll-out Planning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Training requirement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mmunication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upport Scenario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Ways of working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entre of Excellence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IN" sz="1600" spc="0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2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Roll-out &amp; </a:t>
                </a:r>
              </a:p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upport</a:t>
                </a:r>
              </a:p>
            </p:txBody>
          </p:sp>
          <p:sp>
            <p:nvSpPr>
              <p:cNvPr id="23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31" name="Graphic 30" descr="Call center">
              <a:extLst>
                <a:ext uri="{FF2B5EF4-FFF2-40B4-BE49-F238E27FC236}">
                  <a16:creationId xmlns:a16="http://schemas.microsoft.com/office/drawing/2014/main" id="{D6C3173E-CB29-416E-801B-2C0F1E4BC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92525" y="1446854"/>
              <a:ext cx="553770" cy="55377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619C255-D6AC-4FFB-ACBF-838F6FDFA96A}"/>
              </a:ext>
            </a:extLst>
          </p:cNvPr>
          <p:cNvGrpSpPr/>
          <p:nvPr/>
        </p:nvGrpSpPr>
        <p:grpSpPr>
          <a:xfrm>
            <a:off x="3330909" y="1241701"/>
            <a:ext cx="2717123" cy="5406395"/>
            <a:chOff x="3330909" y="1241701"/>
            <a:chExt cx="2717123" cy="5406395"/>
          </a:xfrm>
        </p:grpSpPr>
        <p:grpSp>
          <p:nvGrpSpPr>
            <p:cNvPr id="11" name="Group 10"/>
            <p:cNvGrpSpPr/>
            <p:nvPr/>
          </p:nvGrpSpPr>
          <p:grpSpPr>
            <a:xfrm>
              <a:off x="3330909" y="1241701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12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Licensin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etup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roup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Tenant Administration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Application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Monitorin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nnectivity</a:t>
                </a:r>
              </a:p>
            </p:txBody>
          </p:sp>
          <p:sp>
            <p:nvSpPr>
              <p:cNvPr id="13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ervice Management </a:t>
                </a:r>
              </a:p>
            </p:txBody>
          </p:sp>
          <p:sp>
            <p:nvSpPr>
              <p:cNvPr id="14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3" name="Graphic 2" descr="Single gear">
              <a:extLst>
                <a:ext uri="{FF2B5EF4-FFF2-40B4-BE49-F238E27FC236}">
                  <a16:creationId xmlns:a16="http://schemas.microsoft.com/office/drawing/2014/main" id="{906019C9-5409-4D1F-944F-8746F73B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103134" y="1257094"/>
              <a:ext cx="914400" cy="9144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30AEFA9-D119-459D-8EA1-348762230879}"/>
              </a:ext>
            </a:extLst>
          </p:cNvPr>
          <p:cNvGrpSpPr/>
          <p:nvPr/>
        </p:nvGrpSpPr>
        <p:grpSpPr>
          <a:xfrm>
            <a:off x="6266415" y="1247165"/>
            <a:ext cx="2717123" cy="5406395"/>
            <a:chOff x="6266415" y="1247165"/>
            <a:chExt cx="2717123" cy="5406395"/>
          </a:xfrm>
        </p:grpSpPr>
        <p:grpSp>
          <p:nvGrpSpPr>
            <p:cNvPr id="16" name="Group 15"/>
            <p:cNvGrpSpPr/>
            <p:nvPr/>
          </p:nvGrpSpPr>
          <p:grpSpPr>
            <a:xfrm>
              <a:off x="6266415" y="1247165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17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Ident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Power BI Architecture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Access Control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nnectiv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Secur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haring</a:t>
                </a:r>
              </a:p>
            </p:txBody>
          </p:sp>
          <p:sp>
            <p:nvSpPr>
              <p:cNvPr id="18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ecurity</a:t>
                </a:r>
              </a:p>
            </p:txBody>
          </p:sp>
          <p:sp>
            <p:nvSpPr>
              <p:cNvPr id="19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6" name="Graphic 5" descr="Key">
              <a:extLst>
                <a:ext uri="{FF2B5EF4-FFF2-40B4-BE49-F238E27FC236}">
                  <a16:creationId xmlns:a16="http://schemas.microsoft.com/office/drawing/2014/main" id="{B6176922-A04F-48A2-9D9D-5AD66DB7EC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34739" y="1291719"/>
              <a:ext cx="914400" cy="9144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240163915"/>
      </p:ext>
    </p:extLst>
  </p:cSld>
  <p:clrMapOvr>
    <a:masterClrMapping/>
  </p:clrMapOvr>
  <p:transition advTm="4409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328221" y="123152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Adoption Framework Workshop Attendees</a:t>
            </a:r>
            <a:endParaRPr kumimoji="0" lang="en-US" sz="1800" b="0" i="0" u="none" strike="noStrike" kern="1200" cap="none" spc="-102" normalizeH="0" baseline="0" noProof="0" dirty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95404" y="1241701"/>
            <a:ext cx="2717123" cy="5406395"/>
            <a:chOff x="427038" y="2889495"/>
            <a:chExt cx="2898090" cy="5276266"/>
          </a:xfrm>
          <a:solidFill>
            <a:schemeClr val="tx1"/>
          </a:solidFill>
        </p:grpSpPr>
        <p:sp>
          <p:nvSpPr>
            <p:cNvPr id="8" name="Text Placeholder 1"/>
            <p:cNvSpPr txBox="1">
              <a:spLocks/>
            </p:cNvSpPr>
            <p:nvPr/>
          </p:nvSpPr>
          <p:spPr>
            <a:xfrm>
              <a:off x="427038" y="3811930"/>
              <a:ext cx="2898090" cy="433414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89630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Corporate Sponso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Steward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896350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GB" sz="1600" spc="0" dirty="0">
                <a:solidFill>
                  <a:srgbClr val="000000"/>
                </a:solidFill>
                <a:latin typeface="Segoe UI"/>
              </a:endParaRPr>
            </a:p>
            <a:p>
              <a:pPr defTabSz="896350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GB" sz="1600" spc="0" dirty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9" name="Text Placeholder 1"/>
            <p:cNvSpPr txBox="1">
              <a:spLocks/>
            </p:cNvSpPr>
            <p:nvPr/>
          </p:nvSpPr>
          <p:spPr>
            <a:xfrm>
              <a:off x="427038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US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Governance</a:t>
              </a:r>
            </a:p>
          </p:txBody>
        </p:sp>
        <p:sp>
          <p:nvSpPr>
            <p:cNvPr id="10" name="Text Placeholder 1"/>
            <p:cNvSpPr txBox="1">
              <a:spLocks/>
            </p:cNvSpPr>
            <p:nvPr/>
          </p:nvSpPr>
          <p:spPr>
            <a:xfrm>
              <a:off x="427038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0909" y="1241701"/>
            <a:ext cx="2769182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12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Service Deliver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</p:txBody>
        </p:sp>
        <p:sp>
          <p:nvSpPr>
            <p:cNvPr id="13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ervice Management </a:t>
              </a:r>
            </a:p>
          </p:txBody>
        </p:sp>
        <p:sp>
          <p:nvSpPr>
            <p:cNvPr id="14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66415" y="1247165"/>
            <a:ext cx="2769182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17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Steward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</p:txBody>
        </p:sp>
        <p:sp>
          <p:nvSpPr>
            <p:cNvPr id="18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ecurity</a:t>
              </a:r>
            </a:p>
          </p:txBody>
        </p:sp>
        <p:sp>
          <p:nvSpPr>
            <p:cNvPr id="19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201918" y="1241701"/>
            <a:ext cx="2717123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21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Service Delivery Manag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  <a:p>
              <a:pPr defTabSz="914187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IN" sz="1600" spc="0" dirty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22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Roll-out &amp; </a:t>
              </a:r>
            </a:p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upport</a:t>
              </a:r>
            </a:p>
          </p:txBody>
        </p:sp>
        <p:sp>
          <p:nvSpPr>
            <p:cNvPr id="23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pic>
        <p:nvPicPr>
          <p:cNvPr id="29" name="Graphic 28" descr="Meeting">
            <a:extLst>
              <a:ext uri="{FF2B5EF4-FFF2-40B4-BE49-F238E27FC236}">
                <a16:creationId xmlns:a16="http://schemas.microsoft.com/office/drawing/2014/main" id="{3C573F0E-6064-446A-90D2-2AF8DB35B8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58291" y="1291719"/>
            <a:ext cx="785661" cy="785661"/>
          </a:xfrm>
          <a:prstGeom prst="rect">
            <a:avLst/>
          </a:prstGeom>
        </p:spPr>
      </p:pic>
      <p:pic>
        <p:nvPicPr>
          <p:cNvPr id="31" name="Graphic 30" descr="Call center">
            <a:extLst>
              <a:ext uri="{FF2B5EF4-FFF2-40B4-BE49-F238E27FC236}">
                <a16:creationId xmlns:a16="http://schemas.microsoft.com/office/drawing/2014/main" id="{D6C3173E-CB29-416E-801B-2C0F1E4BCD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92525" y="1446854"/>
            <a:ext cx="553770" cy="553770"/>
          </a:xfrm>
          <a:prstGeom prst="rect">
            <a:avLst/>
          </a:prstGeom>
        </p:spPr>
      </p:pic>
      <p:pic>
        <p:nvPicPr>
          <p:cNvPr id="3" name="Graphic 2" descr="Single gear">
            <a:extLst>
              <a:ext uri="{FF2B5EF4-FFF2-40B4-BE49-F238E27FC236}">
                <a16:creationId xmlns:a16="http://schemas.microsoft.com/office/drawing/2014/main" id="{906019C9-5409-4D1F-944F-8746F73BEF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3134" y="1257094"/>
            <a:ext cx="914400" cy="914400"/>
          </a:xfrm>
          <a:prstGeom prst="rect">
            <a:avLst/>
          </a:prstGeom>
        </p:spPr>
      </p:pic>
      <p:pic>
        <p:nvPicPr>
          <p:cNvPr id="6" name="Graphic 5" descr="Key">
            <a:extLst>
              <a:ext uri="{FF2B5EF4-FFF2-40B4-BE49-F238E27FC236}">
                <a16:creationId xmlns:a16="http://schemas.microsoft.com/office/drawing/2014/main" id="{B6176922-A04F-48A2-9D9D-5AD66DB7EC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34739" y="129171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746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02">
        <p:fade/>
      </p:transition>
    </mc:Choice>
    <mc:Fallback xmlns="">
      <p:transition spd="med" advTm="47202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PRESENTATIONINFO" val="{&quot;DocumentId&quot;:&quot;c5f6ffe8af8ff86ede2ebccd4a0c35c3&quot;,&quot;LanguageCode&quot;:&quot;en-US&quot;,&quot;SlideGuids&quot;:[&quot;bd27f58f-8c31-4e7f-8019-4e9ea7440194&quot;,&quot;f4edd891-cf7b-4af1-b457-fda75983cd76&quot;,&quot;4fce7e8f-50b7-4d01-968d-17c53484dc35&quot;,&quot;36c05d59-487e-4428-be68-292ba87e2e88&quot;,&quot;e4f358bb-0a8a-43a4-af8b-ed2b86a5292d&quot;,&quot;73e88970-58f8-49e4-815b-2c8cebe190b7&quot;,&quot;ce0b18dc-a1a4-4894-a951-897e32fedeb6&quot;,&quot;ce0b18dc-a1a4-4894-a951-897e32fedeb6&quot;,&quot;374f825a-13f8-4952-ba97-1e14101da527&quot;,&quot;2fe54f78-5ea0-4d0b-805c-26d8d6cfced0&quot;,&quot;3efde332-63f5-4e1a-ad7f-6a94bb7656c7&quot;,&quot;eed123e6-906f-40d4-8807-554262ac7776&quot;,&quot;51dd0746-5d84-4fdb-93a7-5223aa4d1a8c&quot;,&quot;2b03987f-721d-490a-b0d8-5f257472c9a5&quot;,&quot;21ff8925-b956-4314-83d7-6cdc03986049&quot;,&quot;4e7f7d60-f55b-44ea-8ede-a403e3c8b6ad&quot;,&quot;da2adfd3-6c85-445c-8a04-961772a752c0&quot;,&quot;fe0e102e-fa6a-43a7-87ca-99cef675104a&quot;,&quot;6353fe2a-8fb5-4e98-b81c-b4b9c9beb156&quot;,&quot;03427c60-ee99-455b-a44c-a9cda6291dc8&quot;,&quot;2c93c07c-7a0a-41ca-9a3a-7d613d9fd0de&quot;,&quot;494ec137-621c-4f97-a361-276b4fcbee0e&quot;,&quot;008edbbb-4a39-4b72-98c5-c7d4cdfa191f&quot;,&quot;e02d702e-9f95-45a0-80d4-9575e33a68b3&quot;,&quot;cfda5b28-833b-4506-8188-d4ffce54241a&quot;,&quot;07e92643-9087-408d-b764-2ebf928fd394&quot;,&quot;29540760-7625-442a-9995-db32325be7d4&quot;,&quot;8587c752-79d1-479d-8ef8-85efa1aa0b67&quot;,&quot;668632f4-1faa-41b3-a042-41899efb1fb7&quot;,&quot;04cb979c-bf26-4d05-8c1b-353c68b7b84f&quot;,&quot;de6c6708-d36b-486b-b05b-68381d79eaa9&quot;,&quot;c327785d-45fd-4c3a-a802-64f4a4200f80&quot;,&quot;cf2ce322-1e34-43c9-8b86-28a0a8167f13&quot;,&quot;3bd05ad5-7897-458d-8f6f-8480a0a35fcb&quot;,&quot;c077a30f-ea27-4449-9251-26a19143ee84&quot;,&quot;090afc66-c719-44b4-874c-216a38fc64a2&quot;,&quot;78314123-b804-4988-ba2c-af62340ba375&quot;,&quot;36767db7-869c-462e-88cf-542e5581b00c&quot;,&quot;9a223591-8d32-4dbb-8ba6-bafc7ce2c760&quot;,&quot;b24050bc-9d77-4a67-b6b0-26bd09d6581a&quot;,&quot;b201441e-60b7-49c5-93ad-83ff52c03358&quot;,&quot;3827b110-5ef1-43d2-83b4-154f779ed230&quot;,&quot;455962cc-f796-4d42-ae44-875eac3e68b8&quot;,&quot;3c000986-b36d-46c2-8c7c-71e59c011460&quot;,&quot;48af0919-8a65-4d16-b9ad-7cb7cad26f05&quot;,&quot;83c66928-fbc7-4c75-a1cf-c591c1bbc2c3&quot;,&quot;b707b591-a086-4e02-a0b1-220d6da94597&quot;,&quot;0256cb45-836f-46d8-94b0-6bb946e64bcc&quot;,&quot;59bec75d-28ee-47a6-bfef-45232b7ee116&quot;,&quot;968ecc2f-6843-44b0-96a1-4f9971029d74&quot;,&quot;f61b5cc7-85d7-4612-8629-2aa2ba4381ed&quot;,&quot;63f9d5fc-4f14-4ce8-88ef-541901c5cee9&quot;,&quot;78cb7161-df01-4cfa-b142-efee8fa3e781&quot;,&quot;4521d720-38ff-49fc-8fe0-9bbed5520aad&quot;,&quot;14ae06bf-5bd4-492d-8c23-22b13e2ac58f&quot;,&quot;5190989d-2461-45b6-a39e-f1ca52676412&quot;,&quot;02a645ae-6a59-4e8a-a538-33c5e7ddb351&quot;,&quot;3d302933-48b9-4e7e-8c93-60bf219b7775&quot;,&quot;2f748345-6a00-459e-825c-662f11f6a350&quot;,&quot;6825c889-ffc8-4030-b217-d15aa94b9f36&quot;,&quot;6b3a2c27-e00e-4105-8522-28c2428289aa&quot;,&quot;604801f3-442b-4dd5-b28b-6733268e031b&quot;,&quot;d3056f23-c866-48c1-85f0-8f160f5b94b0&quot;,&quot;488e8923-755b-43cd-b244-3e0770e2de45&quot;,&quot;c92aa6f5-b589-446c-b183-3ac0aca9b633&quot;,&quot;b1dc052e-c4ae-4df4-ad79-b8d1a734ddd2&quot;,&quot;1175f602-1345-4601-964f-4120ac631631&quot;,&quot;6ba7af5a-8aac-45d6-842e-d58bd12d5498&quot;,&quot;b53828cf-b8ac-40bd-b8c2-e009f9031aea&quot;,&quot;f4a63e25-93df-4f8b-848c-321b9c110a8c&quot;,&quot;0dadf319-610b-47e4-8a8d-04c443ceaba0&quot;,&quot;6c373499-d933-4f50-b177-e2e4be50f6b3&quot;,&quot;50e017a5-0b46-45b4-96f4-99c57ea0facf&quot;,&quot;42797224-8780-45ef-9556-b12a91c23f53&quot;,&quot;59216eab-a9e7-4829-8f38-b3d416328428&quot;,&quot;f422aee5-af96-456d-9f5c-02b988ead3d9&quot;,&quot;44a86195-3614-42df-b676-eacc8143a1d0&quot;,&quot;2cbd6a10-8742-4fb9-af33-258a18d8da8a&quot;,&quot;add41386-2969-4408-8ab3-74df70141b56&quot;,&quot;bfe28f68-6473-4497-ab76-33fee8a31dfc&quot;,&quot;613c22ba-b87b-4db9-b8b4-9fa7016fce29&quot;,&quot;d47595e4-78b6-4e2c-8426-5967385effb9&quot;,&quot;69aaba50-1fd9-4e4c-bdb9-9142f463c028&quot;,&quot;4bffc3e7-6d8a-4bb2-a1f7-4b71e3081837&quot;,&quot;b7996406-73df-4918-8aab-5eb099491486&quot;,&quot;cc58137f-fd0e-4910-9672-9245a6ddc401&quot;,&quot;d6268804-9ec6-499f-9d6e-13d6a7ea3355&quot;,&quot;b4af48fc-2d3d-400f-9bef-56984d4e5d82&quot;,&quot;f332053b-e5d4-464b-a096-114bfd2ae778&quot;,&quot;eafd813e-2503-4f2e-8cf5-284ef4e2b6c1&quot;,&quot;8669328a-33e5-4669-b64b-5dac327aafdb&quot;,&quot;d666803f-f197-4306-b6ce-4514482c9488&quot;,&quot;45187a35-74ee-4aa9-8e02-c58377bb6e85&quot;,&quot;623826cb-5be4-445e-b956-72c99d7ec0dd&quot;,&quot;9ba47dd3-8365-4a41-b9f3-fcddaa3aef4a&quot;,&quot;f977a9cb-5999-4bbf-850d-1eac2fefb6ea&quot;,&quot;3a15f807-3431-48fe-a793-488eaf994906&quot;,&quot;63a5eefd-5f9d-4e66-88d7-a8d7f2cbb9cb&quot;,&quot;8bd9ecff-e143-4021-a785-debf3457163a&quot;,&quot;53fac9f0-698c-46fa-b964-c20d1169ed30&quot;,&quot;3f138df9-9774-4417-a9c2-ee56ab1d3c9f&quot;,&quot;cffb766c-5e1b-447d-b287-2e1a985d9f88&quot;,&quot;d5c0e9ff-d478-473a-b4f7-dfec9dbdb2c2&quot;,&quot;a3c82b6d-15da-48e3-a61a-f2299217c467&quot;,&quot;e9f2aed1-bc4b-4a5c-b71d-be5a3be82079&quot;,&quot;5ae25384-add2-4c98-9f52-c46147697bb5&quot;,&quot;c434c421-b204-452f-bac4-fc6aeb855f0c&quot;,&quot;6b59afee-f7cf-4824-ad76-a5958888f953&quot;,&quot;fda37079-4350-4d51-aff2-46dfdcdcb4fc&quot;,&quot;4a8ff623-585a-44db-b977-24927a7ebf46&quot;,&quot;529c02d5-e1a8-4f4a-a470-eead622758ad&quot;,&quot;b81f408f-decc-4322-a2e0-95e58af507e5&quot;,&quot;9d24e936-84b0-4631-8258-413d8fd1bcef&quot;,&quot;8396da3e-fcae-451b-8f6e-318f375def01&quot;,&quot;9203a1fc-e0b1-4a9b-b1b7-75e7a0a0dee5&quot;,&quot;17c45a5e-ebb6-473d-8562-a8fb0f4945df&quot;,&quot;2aee86eb-368a-4abb-b7ca-277f5f33fd18&quot;,&quot;b24c36f9-4f61-408f-9ad2-0dbb0d369aa9&quot;,&quot;d2d83f14-51b7-466d-b9e2-bd31fda55dc2&quot;,&quot;8170a419-ac10-4da4-b0fc-90f65d25e971&quot;,&quot;e5261ae0-6671-44a0-8135-a9334d5b9d8d&quot;,&quot;e3e133e5-68e4-47ce-bca5-f56c782d118d&quot;,&quot;b302d720-c583-4110-84fe-2241fdc37489&quot;,&quot;f955e6c8-62b8-4b48-bb40-6df46df6a56f&quot;,&quot;59fa61c6-fe3b-43e8-9225-eb73625f1a0f&quot;,&quot;a11cb183-16e8-48ac-a2fc-fec4f2708a1a&quot;,&quot;bb0806f2-78b1-4233-9e64-6c9cd1fefa11&quot;,&quot;729fbdd4-d5a0-45df-a814-8596f78f69d6&quot;,&quot;86bab68a-338c-4f5a-a485-6cf23b691d72&quot;,&quot;fb0a09ab-ab5d-4682-9b4f-c0eb55e88450&quot;,&quot;0c76773f-9d61-4e46-bb47-488ce2a09d24&quot;,&quot;e6b0888d-cfde-474d-ad61-981aaf793f43&quot;,&quot;84696418-18dd-4b8a-9550-fac8d9bdc3b8&quot;,&quot;966cdb95-6921-4298-9e6b-32b3daada0e7&quot;,&quot;3cf23c71-2bdd-4457-9590-5dfc62a1816f&quot;,&quot;5c62467b-e383-461a-87cb-b200fdbef8f1&quot;,&quot;799d7c19-1597-4cbf-a2fa-e4168d0d5851&quot;,&quot;b74a840c-6c9f-4f44-b999-0f821961076c&quot;,&quot;9f420262-4751-4f49-9df6-a386139ba351&quot;,&quot;ecd3b482-04d6-44dc-b0b2-3b13d753e3b8&quot;,&quot;efb99900-eef9-44c0-ada8-8dd80cfa275d&quot;,&quot;88b30436-0545-4828-a8e2-7e10186056fe&quot;,&quot;99e0e13c-0ad4-470f-9482-d4cc4170459d&quot;,&quot;17f82aa0-d8e7-4ff7-9005-849d9b5a138a&quot;,&quot;ac75fd85-2cbb-472a-a94b-80fb001836f3&quot;,&quot;0bf59e2e-1662-4beb-a9cb-f7dac8f25dc8&quot;,&quot;22d0d9c3-50eb-4e67-9597-fee82493bea5&quot;,&quot;1201f5e8-5c78-4f42-81a0-9cdc01931aca&quot;,&quot;5c7adf06-0011-4c6b-b8e1-dcbe1df0a163&quot;,&quot;ec5cac07-624e-45d7-a803-4414b46d193e&quot;,&quot;740476fb-c585-480f-9d75-e1cce9afc063&quot;,&quot;49fd6ec7-de99-4624-8325-d46da840da70&quot;,&quot;4648191d-7515-48d3-97c9-0beb1f076216&quot;,&quot;8539d23c-6abf-46f9-8c0c-317681ee28a2&quot;,&quot;30cdf0e5-bd9b-49f8-8d81-861a24f77b84&quot;,&quot;76dd1fbc-b64b-4672-ac40-0f8a89f06866&quot;,&quot;6d66e04c-669e-4419-8842-c0265db6d4af&quot;,&quot;d3d93002-44cd-41d2-8344-7723b3763375&quot;,&quot;36d0b1f8-ee96-410a-938e-10ad0047bfbd&quot;,&quot;b53f290e-b23c-4e5f-bdbc-4b89a0bd865f&quot;,&quot;ff429f87-b708-48a0-9159-b246ac41f6aa&quot;,&quot;a261d2fd-f26a-4fee-849c-badfdf08364b&quot;,&quot;b1915713-d666-499b-9d61-b9cf14454aaa&quot;,&quot;66da8720-27a4-4f11-aded-28df5965136f&quot;,&quot;73e8f1fd-13e5-4363-afa4-b61e51edacd9&quot;,&quot;3825311d-4251-4457-9541-9151a31789ef&quot;,&quot;32e4ff08-1efd-4c3e-8e18-4972cd07c0ad&quot;,&quot;82cedb5f-16fb-436b-b105-0061889208e1&quot;,&quot;1ae6c34d-b2c0-431f-9744-42291568b4dc&quot;,&quot;68430c4c-6efd-42fb-80f0-f2444fa47b78&quot;,&quot;dc31674e-83f9-44d6-b575-ae9dd39f3b00&quot;,&quot;781b0596-69eb-4de4-88d9-5b3d53009ce4&quot;,&quot;74e0ed0a-9ce0-4c38-9b6d-2fe7a3917c1a&quot;,&quot;d43cdfc6-9181-40f9-ad49-6e2e5687c58e&quot;,&quot;77744988-1bfc-453f-b59e-af2f16e5666e&quot;,&quot;3387bc85-33da-4d56-af5f-fb955284636e&quot;,&quot;c2b431e6-9775-4675-b455-c9eb85a209a7&quot;,&quot;c128e3fc-47d6-4b4b-a0d6-ef14997b7f6c&quot;,&quot;e4d6b10c-3883-4bbd-9789-88a18f488d47&quot;,&quot;c72e949d-2cae-41bd-8e41-2f5970a177ba&quot;,&quot;3f34e8e6-ef09-4e3d-b23c-e658da26dab2&quot;,&quot;6f00ca99-c12b-4f74-849f-1dd3376c7f6a&quot;,&quot;5a33d612-8f84-400c-8c62-4aa9e4ca40da&quot;,&quot;ef61e477-d04b-4e08-9581-08ed74eb133b&quot;,&quot;63ecc404-dba1-4a15-813f-6c3a65a5e14f&quot;,&quot;b1fb9e46-ffc6-4992-8c06-cc04310918aa&quot;,&quot;d84a418c-a4d1-4501-a7d2-aeb876f190e1&quot;,&quot;6e975f20-1f6c-498a-9055-f32c1851d79c&quot;,&quot;a9429e0e-a888-4e35-9326-d467a034dc3f&quot;,&quot;31abc739-592b-4fa8-8596-776cf7fdc800&quot;,&quot;0d73f182-2f12-4328-838e-f615bf53fde8&quot;,&quot;1a393b8f-496f-432a-927d-526e6f4e67e5&quot;,&quot;f17672c9-25cc-46fd-b0b7-d4b8f1a9a4d5&quot;,&quot;1fa39df0-6297-4dfc-9483-864713a25075&quot;,&quot;e0f98a76-0413-483e-bda5-59ea6ecbf15a&quot;,&quot;ac675815-4c93-459b-98b6-f90d97ab56f4&quot;,&quot;c3beef28-7d0c-4a3a-8e4e-1eee8e0dee48&quot;,&quot;e456ce84-927a-4de0-a9ca-66f33489b723&quot;,&quot;12931718-33f4-46a7-aee7-6898a3baab94&quot;,&quot;a62f0790-1ce8-4fe8-bec2-df0ee27920f5&quot;,&quot;51967c5c-f1e4-42e0-a7a3-7731e7a4d4c6&quot;,&quot;fb9794c7-9242-47f8-8592-3d1f34f3a045&quot;,&quot;97aafeb3-ee6c-406e-a03e-0736337f9f08&quot;,&quot;3a09482f-9bc1-47a8-928a-0fcdd92472a4&quot;,&quot;3193d1ea-042c-4c38-8bba-03a87b52678a&quot;,&quot;785d985c-b2c3-4268-abdd-f7b8cc81e2d9&quot;,&quot;3b8661a8-83a8-452b-b768-2b017cf484f4&quot;,&quot;7358b208-4587-4b41-9284-e45f73190bb9&quot;,&quot;fcf516d6-ac9e-441a-973a-2299ff4c1774&quot;,&quot;b3176890-c8f2-4624-9aa8-8e479d27dc68&quot;,&quot;095de789-5c68-48ca-94e1-1868371dbf72&quot;,&quot;ccc53099-771a-42be-9ea5-d3c3e64ff64e&quot;,&quot;d2264db9-f448-4486-a9ed-32ab90ca5240&quot;,&quot;4bd4e680-dad7-466d-9cdd-76852960b21d&quot;,&quot;faa48e47-23ad-4416-b110-f416df1d7574&quot;,&quot;b9ff888c-70b0-455d-9578-a2408aad96dd&quot;,&quot;51920074-c4a0-4902-97e5-be2234c9192c&quot;,&quot;891e7732-592c-48a8-8b3a-59a9dd051236&quot;,&quot;ea1a3beb-0864-4fe2-9e8e-6dac01050b5f&quot;,&quot;56026a5f-b615-4ee0-b11f-50b056eaa49d&quot;,&quot;ea85097a-8a5d-48c7-b635-f95e5bee6005&quot;,&quot;e5f3b096-2666-479b-bb41-7a58b1d7d1e4&quot;,&quot;02a3b9c4-48bc-4525-9723-ee3d095bf523&quot;,&quot;aa6a0b0e-7105-42fe-a283-ef6e2c90a4a8&quot;,&quot;31d92f9d-b406-4862-99a4-c23d9a6393c9&quot;,&quot;0c3d54a0-c97c-45a1-84c9-2b4b6c0dbfa4&quot;,&quot;5bae44fe-6e22-447f-a606-a312a4874ad6&quot;,&quot;2f8b870c-2306-48e2-b2c7-4e713028a39f&quot;,&quot;575531f2-f829-47b5-befd-9e9b6fb9b6a4&quot;,&quot;247b3404-b525-438c-b19c-bc9e82b0c7f7&quot;,&quot;8e7f3dec-196e-4a22-99fc-7030c24c2208&quot;,&quot;3fc319bf-8e2a-4383-98b4-99335fd0c3e1&quot;,&quot;02496e84-6b13-4d09-b327-376a51c91e7d&quot;,&quot;f9c419af-899d-42ce-92d5-af340ed0adb3&quot;,&quot;662427e6-eb32-4c17-9a43-81fd996c0b8a&quot;,&quot;31b53294-bf41-4071-8658-a223b0cd5ba9&quot;,&quot;8a860304-6afa-474a-8e55-f29f10c914f2&quot;,&quot;59c4a74f-a12d-4aa6-bd9c-b10bc27d631c&quot;,&quot;0fde6687-fb09-419b-af39-b1f50d309257&quot;,&quot;20296214-a541-448e-aed6-43958bc60c92&quot;,&quot;3cb79f31-d77c-490e-8449-384728744430&quot;,&quot;9cd1d042-f63d-4aab-a4c8-0f3513a0a9d0&quot;,&quot;7ef5deb9-ff23-49a0-ab53-df0f054b6ffa&quot;,&quot;c01978a5-db14-44c0-935a-de1d94e96556&quot;,&quot;07bfaa4c-c5dd-437a-921d-dfbcde781e48&quot;,&quot;716c82d2-ebe1-47dd-8943-8c7b8d817ac7&quot;,&quot;f52d3811-518b-4ace-bf3c-135b1f3e522a&quot;,&quot;ac400379-ae39-478a-88eb-a15add7ba528&quot;,&quot;e74e0e80-d292-4df1-a0f0-4d98c639af44&quot;,&quot;bf4ca86b-971b-4f4a-aafb-ae638ff41269&quot;,&quot;fe3401a1-f7cf-4526-8069-b5268753758b&quot;,&quot;35d2de6e-0023-4971-a2f9-d8df36e645fb&quot;,&quot;379896e6-ff0b-4c5d-884a-aeb4237863f7&quot;,&quot;7765df07-43c0-49c1-b433-a5c417be7c97&quot;,&quot;d5e69aed-e637-4034-a05c-050a4e1f65f2&quot;,&quot;0066a306-c518-4ce8-9bcd-5c08509f5476&quot;,&quot;0d23583e-4d18-4878-8eee-5648f96cb5d6&quot;,&quot;adcc8b78-10ca-49b7-87b9-8a4de2634b8b&quot;,&quot;7d82ce0d-52d5-476d-91e6-ac7d47fbc574&quot;,&quot;0a6e677e-ed31-43fa-810f-a298f7dcc36a&quot;,&quot;7b8bbefd-fb73-4dd3-9db1-3d9ad703e0a8&quot;,&quot;88905a90-335b-4e64-b528-f930db686cfc&quot;,&quot;a0020818-6752-442f-9fa6-63d52c7f23fc&quot;,&quot;8590fc4f-b5fd-49f7-8691-f6c1f3f9db22&quot;,&quot;ff8faf34-f7ca-41aa-8cdc-0642f9e45376&quot;,&quot;9385ebf9-8c06-4860-b296-f31ba4daf7ed&quot;,&quot;53e05db0-8851-42c7-becc-438b0795036e&quot;,&quot;67778786-cf33-4390-b808-8f30a2da9c2a&quot;,&quot;083c140a-0747-4220-87a7-031f8f578b88&quot;,&quot;e5f23a77-0d56-40da-a7fc-eecd728f6bdd&quot;,&quot;166378fb-a5c8-4342-9f73-bc25db1284a4&quot;,&quot;7feda65f-e041-487f-974b-2760087c56ec&quot;,&quot;4cb92ff9-58fc-46e3-9309-ebcc48f3c4d3&quot;,&quot;a1fc57da-6eda-4841-95a7-ba288628d3f2&quot;,&quot;297acb2e-6643-40aa-a1ef-080e94c1a71d&quot;,&quot;7fddecd3-2995-4e47-a681-a7522e5ef7b6&quot;,&quot;d4340adb-3983-4762-b1cf-945d66600bb5&quot;,&quot;c545ef80-6506-4f29-9608-66b0cff8b1ef&quot;,&quot;96aab897-7e3c-4d36-8acd-63fddf71ef00&quot;,&quot;2b0dd98d-a1bf-408c-850a-aeb9917288a5&quot;,&quot;006c79d4-136b-496a-99a2-5164aa04679e&quot;,&quot;170f6f4d-d0b8-431c-b286-0c361945cf88&quot;,&quot;1feead20-0bc1-406a-9877-a34645017860&quot;,&quot;776a289d-78fc-44b8-ba44-7796d7bbe09a&quot;,&quot;641b1c30-d7df-42b3-a97d-8d79ef8d058b&quot;,&quot;eb747dd5-f27f-4e6b-a3b5-6ec5e9d7fbf1&quot;],&quot;TimeStamp&quot;:&quot;2019-04-15T09:10:03.8482142-07:00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6353fe2a-8fb5-4e98-b81c-b4b9c9beb156&quot;,&quot;TimeStamp&quot;:&quot;2019-04-15T09:10:03.5896591-07:00&quot;}"/>
  <p:tag name="TIMING" val="|5|6.2|8.7|11.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de6c6708-d36b-486b-b05b-68381d79eaa9&quot;,&quot;TimeStamp&quot;:&quot;2019-04-15T09:10:03.6055972-07:00&quot;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5|16|8.7|11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da2adfd3-6c85-445c-8a04-961772a752c0&quot;,&quot;TimeStamp&quot;:&quot;2019-04-15T09:10:03.5869785-07:00&quot;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327785d-45fd-4c3a-a802-64f4a4200f80&quot;,&quot;TimeStamp&quot;:&quot;2019-04-15T09:10:03.6066053-07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7|3.7|5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17.7|35.899|45.501|24.9|11.1000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3.4|45.9|102|36.9|18.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3|28.1|60.5|32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6|14|12.1|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3.1|17.7|16.5|27.4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A4C2A0-2041-47F2-A0F6-713566A3DE93}"/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Widescreen</PresentationFormat>
  <Paragraphs>161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Why do we need a Framework?</vt:lpstr>
      <vt:lpstr>Power BI Adoption Methodology</vt:lpstr>
      <vt:lpstr>Power BI Adoption Methodology</vt:lpstr>
      <vt:lpstr>Envision – Key Learning</vt:lpstr>
      <vt:lpstr>Power BI Adoption Methodology</vt:lpstr>
      <vt:lpstr>Power BI Adoption Methodology</vt:lpstr>
      <vt:lpstr>PowerPoint Presentation</vt:lpstr>
      <vt:lpstr>PowerPoint Presentation</vt:lpstr>
      <vt:lpstr>Adoption Framework Workshop Key Learnings</vt:lpstr>
      <vt:lpstr>Funding Approach</vt:lpstr>
      <vt:lpstr>Key Requiremen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4-22T21:28:46Z</dcterms:created>
  <dcterms:modified xsi:type="dcterms:W3CDTF">2019-11-05T12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kanw@microsoft.com</vt:lpwstr>
  </property>
  <property fmtid="{D5CDD505-2E9C-101B-9397-08002B2CF9AE}" pid="5" name="MSIP_Label_f42aa342-8706-4288-bd11-ebb85995028c_SetDate">
    <vt:lpwstr>2019-04-22T21:33:14.3023868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ad8c226d-71b3-4948-8a75-4fea39b7ed7d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4637B333D9039F42B4A841E7D21AD3E7</vt:lpwstr>
  </property>
</Properties>
</file>